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343" r:id="rId2"/>
    <p:sldId id="344" r:id="rId3"/>
    <p:sldId id="345" r:id="rId4"/>
    <p:sldId id="369" r:id="rId5"/>
    <p:sldId id="348" r:id="rId6"/>
    <p:sldId id="370" r:id="rId7"/>
    <p:sldId id="350" r:id="rId8"/>
    <p:sldId id="358" r:id="rId9"/>
    <p:sldId id="351" r:id="rId10"/>
    <p:sldId id="353" r:id="rId11"/>
    <p:sldId id="356" r:id="rId12"/>
    <p:sldId id="354" r:id="rId13"/>
    <p:sldId id="352" r:id="rId14"/>
    <p:sldId id="357" r:id="rId15"/>
    <p:sldId id="363" r:id="rId16"/>
    <p:sldId id="365" r:id="rId17"/>
    <p:sldId id="371" r:id="rId18"/>
    <p:sldId id="359" r:id="rId19"/>
    <p:sldId id="361" r:id="rId20"/>
    <p:sldId id="366" r:id="rId21"/>
    <p:sldId id="367" r:id="rId22"/>
    <p:sldId id="368" r:id="rId23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44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3684"/>
    <a:srgbClr val="583488"/>
    <a:srgbClr val="5E378E"/>
    <a:srgbClr val="F7941F"/>
    <a:srgbClr val="E6E3D7"/>
    <a:srgbClr val="7550A7"/>
    <a:srgbClr val="3C3C3C"/>
    <a:srgbClr val="FFFFFF"/>
    <a:srgbClr val="2B1C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150"/>
    <p:restoredTop sz="93371"/>
  </p:normalViewPr>
  <p:slideViewPr>
    <p:cSldViewPr snapToGrid="0">
      <p:cViewPr varScale="1">
        <p:scale>
          <a:sx n="51" d="100"/>
          <a:sy n="51" d="100"/>
        </p:scale>
        <p:origin x="630" y="36"/>
      </p:cViewPr>
      <p:guideLst>
        <p:guide orient="horz" pos="4344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97" d="100"/>
          <a:sy n="97" d="100"/>
        </p:scale>
        <p:origin x="4328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B8930B-0158-4CB6-8DC1-DAE5AD6EFF59}" type="datetimeFigureOut">
              <a:rPr lang="en-US" smtClean="0"/>
              <a:t>10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0E775-9EF1-4122-8C5D-8B276CE7D0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991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1F879C-88EE-6043-92AB-E2BA04794DF5}" type="slidenum">
              <a:rPr lang="en-LT"/>
              <a:t>1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2533971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30E775-9EF1-4122-8C5D-8B276CE7D0D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373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30E775-9EF1-4122-8C5D-8B276CE7D0D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804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E7795C-EE40-40ED-AB65-2900805B1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60534-C76C-4DD5-85E3-29F7566055F9}" type="datetime1">
              <a:rPr lang="en-US" smtClean="0"/>
              <a:t>10/30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096B74-189E-4B68-9EE5-E4345AE7B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87DE-3290-4E52-9B4B-8C8523DD1CB9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4280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E7795C-EE40-40ED-AB65-2900805B1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60534-C76C-4DD5-85E3-29F7566055F9}" type="datetime1">
              <a:rPr lang="en-US" smtClean="0"/>
              <a:t>10/30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096B74-189E-4B68-9EE5-E4345AE7B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87DE-3290-4E52-9B4B-8C8523DD1CB9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0989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elc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7313A8-DB2E-AE43-A5D8-5ED2D54644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1C4FB-C407-B84D-B2A9-DFC1B62B9930}" type="datetime1">
              <a:rPr lang="en-LT" smtClean="0"/>
              <a:t>10/30/2024</a:t>
            </a:fld>
            <a:endParaRPr lang="lt-L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A0C285-5191-9C4A-98A6-F5C9AF5B4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539750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96580" y="2133834"/>
            <a:ext cx="21029831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291" y="5143735"/>
            <a:ext cx="21029831" cy="72101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291" y="1271270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BC8C6E-B47F-4276-B952-14776E9EA99B}" type="datetime1">
              <a:rPr lang="en-US" smtClean="0"/>
              <a:t>10/30/2024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6F29904-FC13-4203-A32B-BFFD5F58B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2348708" y="6317457"/>
            <a:ext cx="5776915" cy="1079500"/>
          </a:xfrm>
          <a:prstGeom prst="rect">
            <a:avLst/>
          </a:prstGeom>
          <a:solidFill>
            <a:schemeClr val="bg1"/>
          </a:solidFill>
          <a:effectLst>
            <a:outerShdw blurRad="635000" dist="254000" dir="18900000" algn="l" rotWithShape="0">
              <a:prstClr val="black">
                <a:alpha val="20000"/>
              </a:prstClr>
            </a:outerShdw>
          </a:effectLst>
        </p:spPr>
        <p:txBody>
          <a:bodyPr vert="horz" lIns="91440" tIns="45720" rIns="91440" bIns="45720" rtlCol="0" anchor="ctr"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lt-LT"/>
              <a:t>Awesome Template</a:t>
            </a:r>
            <a:endParaRPr lang="lt-LT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0E147AF-F5C8-43CF-A634-F4882C76B7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12712700"/>
            <a:ext cx="1079500" cy="1003299"/>
          </a:xfrm>
          <a:prstGeom prst="rect">
            <a:avLst/>
          </a:prstGeom>
          <a:solidFill>
            <a:schemeClr val="bg1"/>
          </a:solidFill>
          <a:effectLst>
            <a:outerShdw blurRad="635000" dist="254000" dir="18900000" algn="l" rotWithShape="0">
              <a:prstClr val="black">
                <a:alpha val="20000"/>
              </a:prstClr>
            </a:outerShdw>
          </a:effectLst>
        </p:spPr>
        <p:txBody>
          <a:bodyPr vert="horz" lIns="91440" tIns="45720" rIns="91440" bIns="45720" rtlCol="0" anchor="ctr"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A39587DE-3290-4E52-9B4B-8C8523DD1CB9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627834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9" r:id="rId2"/>
    <p:sldLayoutId id="2147483681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15359" userDrawn="1">
          <p15:clr>
            <a:srgbClr val="F26B43"/>
          </p15:clr>
        </p15:guide>
        <p15:guide id="3" pos="680" userDrawn="1">
          <p15:clr>
            <a:srgbClr val="F26B43"/>
          </p15:clr>
        </p15:guide>
        <p15:guide id="4" pos="1555" userDrawn="1">
          <p15:clr>
            <a:srgbClr val="F26B43"/>
          </p15:clr>
        </p15:guide>
        <p15:guide id="5" pos="2430" userDrawn="1">
          <p15:clr>
            <a:srgbClr val="F26B43"/>
          </p15:clr>
        </p15:guide>
        <p15:guide id="6" pos="3305" userDrawn="1">
          <p15:clr>
            <a:srgbClr val="F26B43"/>
          </p15:clr>
        </p15:guide>
        <p15:guide id="7" pos="4179" userDrawn="1">
          <p15:clr>
            <a:srgbClr val="F26B43"/>
          </p15:clr>
        </p15:guide>
        <p15:guide id="8" pos="5054" userDrawn="1">
          <p15:clr>
            <a:srgbClr val="F26B43"/>
          </p15:clr>
        </p15:guide>
        <p15:guide id="9" pos="5929" userDrawn="1">
          <p15:clr>
            <a:srgbClr val="F26B43"/>
          </p15:clr>
        </p15:guide>
        <p15:guide id="10" pos="6804" userDrawn="1">
          <p15:clr>
            <a:srgbClr val="F26B43"/>
          </p15:clr>
        </p15:guide>
        <p15:guide id="11" pos="7679" userDrawn="1">
          <p15:clr>
            <a:srgbClr val="F26B43"/>
          </p15:clr>
        </p15:guide>
        <p15:guide id="12" pos="8554" userDrawn="1">
          <p15:clr>
            <a:srgbClr val="F26B43"/>
          </p15:clr>
        </p15:guide>
        <p15:guide id="13" pos="9429" userDrawn="1">
          <p15:clr>
            <a:srgbClr val="F26B43"/>
          </p15:clr>
        </p15:guide>
        <p15:guide id="14" pos="10304" userDrawn="1">
          <p15:clr>
            <a:srgbClr val="F26B43"/>
          </p15:clr>
        </p15:guide>
        <p15:guide id="15" pos="11179" userDrawn="1">
          <p15:clr>
            <a:srgbClr val="F26B43"/>
          </p15:clr>
        </p15:guide>
        <p15:guide id="16" pos="12053" userDrawn="1">
          <p15:clr>
            <a:srgbClr val="F26B43"/>
          </p15:clr>
        </p15:guide>
        <p15:guide id="17" pos="12928" userDrawn="1">
          <p15:clr>
            <a:srgbClr val="F26B43"/>
          </p15:clr>
        </p15:guide>
        <p15:guide id="18" pos="13803" userDrawn="1">
          <p15:clr>
            <a:srgbClr val="F26B43"/>
          </p15:clr>
        </p15:guide>
        <p15:guide id="19" pos="14678" userDrawn="1">
          <p15:clr>
            <a:srgbClr val="F26B43"/>
          </p15:clr>
        </p15:guide>
        <p15:guide id="20" orient="horz" userDrawn="1">
          <p15:clr>
            <a:srgbClr val="F26B43"/>
          </p15:clr>
        </p15:guide>
        <p15:guide id="21" orient="horz" pos="8640" userDrawn="1">
          <p15:clr>
            <a:srgbClr val="F26B43"/>
          </p15:clr>
        </p15:guide>
        <p15:guide id="22" orient="horz" pos="680" userDrawn="1">
          <p15:clr>
            <a:srgbClr val="F26B43"/>
          </p15:clr>
        </p15:guide>
        <p15:guide id="23" orient="horz" pos="1590" userDrawn="1">
          <p15:clr>
            <a:srgbClr val="F26B43"/>
          </p15:clr>
        </p15:guide>
        <p15:guide id="24" orient="horz" pos="2500" userDrawn="1">
          <p15:clr>
            <a:srgbClr val="F26B43"/>
          </p15:clr>
        </p15:guide>
        <p15:guide id="25" orient="horz" pos="3410" userDrawn="1">
          <p15:clr>
            <a:srgbClr val="F26B43"/>
          </p15:clr>
        </p15:guide>
        <p15:guide id="26" orient="horz" pos="4320" userDrawn="1">
          <p15:clr>
            <a:srgbClr val="F26B43"/>
          </p15:clr>
        </p15:guide>
        <p15:guide id="27" orient="horz" pos="5229" userDrawn="1">
          <p15:clr>
            <a:srgbClr val="F26B43"/>
          </p15:clr>
        </p15:guide>
        <p15:guide id="28" orient="horz" pos="6139" userDrawn="1">
          <p15:clr>
            <a:srgbClr val="F26B43"/>
          </p15:clr>
        </p15:guide>
        <p15:guide id="29" orient="horz" pos="7049" userDrawn="1">
          <p15:clr>
            <a:srgbClr val="F26B43"/>
          </p15:clr>
        </p15:guide>
        <p15:guide id="30" orient="horz" pos="79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png"/><Relationship Id="rId4" Type="http://schemas.microsoft.com/office/2007/relationships/hdphoto" Target="../media/hdphoto6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42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10" Type="http://schemas.openxmlformats.org/officeDocument/2006/relationships/image" Target="../media/image52.svg"/><Relationship Id="rId4" Type="http://schemas.openxmlformats.org/officeDocument/2006/relationships/image" Target="../media/image46.svg"/><Relationship Id="rId9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53.png"/><Relationship Id="rId4" Type="http://schemas.openxmlformats.org/officeDocument/2006/relationships/notesSlide" Target="../notesSlides/notesSlide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microsoft.com/office/2007/relationships/hdphoto" Target="../media/hdphoto7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7" Type="http://schemas.openxmlformats.org/officeDocument/2006/relationships/image" Target="../media/image6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github.com/MyFirstBitcoin" TargetMode="Externa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microsoft.com/office/2007/relationships/hdphoto" Target="../media/hdphoto9.wdp"/><Relationship Id="rId5" Type="http://schemas.openxmlformats.org/officeDocument/2006/relationships/image" Target="../media/image66.png"/><Relationship Id="rId4" Type="http://schemas.microsoft.com/office/2007/relationships/hdphoto" Target="../media/hdphoto8.wdp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2.png"/><Relationship Id="rId7" Type="http://schemas.openxmlformats.org/officeDocument/2006/relationships/image" Target="../media/image7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microsoft.com/office/2007/relationships/hdphoto" Target="../media/hdphoto2.wdp"/><Relationship Id="rId4" Type="http://schemas.openxmlformats.org/officeDocument/2006/relationships/image" Target="../media/image10.png"/><Relationship Id="rId9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1.png"/><Relationship Id="rId3" Type="http://schemas.openxmlformats.org/officeDocument/2006/relationships/image" Target="../media/image2.png"/><Relationship Id="rId7" Type="http://schemas.microsoft.com/office/2007/relationships/hdphoto" Target="../media/hdphoto4.wdp"/><Relationship Id="rId12" Type="http://schemas.openxmlformats.org/officeDocument/2006/relationships/hyperlink" Target="https://pixabay.com/illustrations/bitcoin-btc-crypto-cryptocurrency-4294492/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15.jpeg"/><Relationship Id="rId10" Type="http://schemas.openxmlformats.org/officeDocument/2006/relationships/image" Target="../media/image19.jpeg"/><Relationship Id="rId4" Type="http://schemas.openxmlformats.org/officeDocument/2006/relationships/image" Target="../media/image14.png"/><Relationship Id="rId9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inclipart.com/maxpin/iTJRbRx/" TargetMode="External"/><Relationship Id="rId5" Type="http://schemas.openxmlformats.org/officeDocument/2006/relationships/image" Target="../media/image23.png"/><Relationship Id="rId4" Type="http://schemas.openxmlformats.org/officeDocument/2006/relationships/hyperlink" Target="https://es.vexels.com/svg-png/ingredients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microsoft.com/office/2007/relationships/hdphoto" Target="../media/hdphoto5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8.png"/><Relationship Id="rId5" Type="http://schemas.openxmlformats.org/officeDocument/2006/relationships/image" Target="../media/image26.jpeg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B1C58"/>
            </a:gs>
            <a:gs pos="100000">
              <a:srgbClr val="5E378E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Picture 115">
            <a:extLst>
              <a:ext uri="{FF2B5EF4-FFF2-40B4-BE49-F238E27FC236}">
                <a16:creationId xmlns:a16="http://schemas.microsoft.com/office/drawing/2014/main" id="{C46A0B82-D5D2-06AC-C3BA-411A70338BE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1397" y="8425490"/>
            <a:ext cx="5719717" cy="5115541"/>
          </a:xfrm>
          <a:prstGeom prst="rect">
            <a:avLst/>
          </a:prstGeom>
        </p:spPr>
      </p:pic>
      <p:grpSp>
        <p:nvGrpSpPr>
          <p:cNvPr id="20" name="Graphic 17">
            <a:extLst>
              <a:ext uri="{FF2B5EF4-FFF2-40B4-BE49-F238E27FC236}">
                <a16:creationId xmlns:a16="http://schemas.microsoft.com/office/drawing/2014/main" id="{64F1CD53-FA46-2183-9F55-7A4BEC3947A7}"/>
              </a:ext>
            </a:extLst>
          </p:cNvPr>
          <p:cNvGrpSpPr/>
          <p:nvPr/>
        </p:nvGrpSpPr>
        <p:grpSpPr>
          <a:xfrm>
            <a:off x="10911976" y="1132366"/>
            <a:ext cx="2608505" cy="1391759"/>
            <a:chOff x="8608436" y="1360528"/>
            <a:chExt cx="2608505" cy="1391759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8182840-6785-BCEA-CDE7-D0C03F556F70}"/>
                </a:ext>
              </a:extLst>
            </p:cNvPr>
            <p:cNvSpPr/>
            <p:nvPr/>
          </p:nvSpPr>
          <p:spPr>
            <a:xfrm>
              <a:off x="9776634" y="1360528"/>
              <a:ext cx="484112" cy="388902"/>
            </a:xfrm>
            <a:custGeom>
              <a:avLst/>
              <a:gdLst>
                <a:gd name="connsiteX0" fmla="*/ 202508 w 484112"/>
                <a:gd name="connsiteY0" fmla="*/ 0 h 388902"/>
                <a:gd name="connsiteX1" fmla="*/ 211200 w 484112"/>
                <a:gd name="connsiteY1" fmla="*/ 42929 h 388902"/>
                <a:gd name="connsiteX2" fmla="*/ 222426 w 484112"/>
                <a:gd name="connsiteY2" fmla="*/ 104094 h 388902"/>
                <a:gd name="connsiteX3" fmla="*/ 234482 w 484112"/>
                <a:gd name="connsiteY3" fmla="*/ 172564 h 388902"/>
                <a:gd name="connsiteX4" fmla="*/ 245700 w 484112"/>
                <a:gd name="connsiteY4" fmla="*/ 236823 h 388902"/>
                <a:gd name="connsiteX5" fmla="*/ 287217 w 484112"/>
                <a:gd name="connsiteY5" fmla="*/ 173967 h 388902"/>
                <a:gd name="connsiteX6" fmla="*/ 331534 w 484112"/>
                <a:gd name="connsiteY6" fmla="*/ 107746 h 388902"/>
                <a:gd name="connsiteX7" fmla="*/ 373043 w 484112"/>
                <a:gd name="connsiteY7" fmla="*/ 46855 h 388902"/>
                <a:gd name="connsiteX8" fmla="*/ 406699 w 484112"/>
                <a:gd name="connsiteY8" fmla="*/ 0 h 388902"/>
                <a:gd name="connsiteX9" fmla="*/ 484113 w 484112"/>
                <a:gd name="connsiteY9" fmla="*/ 0 h 388902"/>
                <a:gd name="connsiteX10" fmla="*/ 473739 w 484112"/>
                <a:gd name="connsiteY10" fmla="*/ 86984 h 388902"/>
                <a:gd name="connsiteX11" fmla="*/ 459149 w 484112"/>
                <a:gd name="connsiteY11" fmla="*/ 186874 h 388902"/>
                <a:gd name="connsiteX12" fmla="*/ 442045 w 484112"/>
                <a:gd name="connsiteY12" fmla="*/ 290696 h 388902"/>
                <a:gd name="connsiteX13" fmla="*/ 424089 w 484112"/>
                <a:gd name="connsiteY13" fmla="*/ 388903 h 388902"/>
                <a:gd name="connsiteX14" fmla="*/ 338822 w 484112"/>
                <a:gd name="connsiteY14" fmla="*/ 388903 h 388902"/>
                <a:gd name="connsiteX15" fmla="*/ 363786 w 484112"/>
                <a:gd name="connsiteY15" fmla="*/ 265163 h 388902"/>
                <a:gd name="connsiteX16" fmla="*/ 388192 w 484112"/>
                <a:gd name="connsiteY16" fmla="*/ 130751 h 388902"/>
                <a:gd name="connsiteX17" fmla="*/ 355653 w 484112"/>
                <a:gd name="connsiteY17" fmla="*/ 182110 h 388902"/>
                <a:gd name="connsiteX18" fmla="*/ 319750 w 484112"/>
                <a:gd name="connsiteY18" fmla="*/ 239344 h 388902"/>
                <a:gd name="connsiteX19" fmla="*/ 284970 w 484112"/>
                <a:gd name="connsiteY19" fmla="*/ 294620 h 388902"/>
                <a:gd name="connsiteX20" fmla="*/ 255802 w 484112"/>
                <a:gd name="connsiteY20" fmla="*/ 339520 h 388902"/>
                <a:gd name="connsiteX21" fmla="*/ 191848 w 484112"/>
                <a:gd name="connsiteY21" fmla="*/ 339520 h 388902"/>
                <a:gd name="connsiteX22" fmla="*/ 185118 w 484112"/>
                <a:gd name="connsiteY22" fmla="*/ 296863 h 388902"/>
                <a:gd name="connsiteX23" fmla="*/ 176420 w 484112"/>
                <a:gd name="connsiteY23" fmla="*/ 242150 h 388902"/>
                <a:gd name="connsiteX24" fmla="*/ 166605 w 484112"/>
                <a:gd name="connsiteY24" fmla="*/ 183787 h 388902"/>
                <a:gd name="connsiteX25" fmla="*/ 157068 w 484112"/>
                <a:gd name="connsiteY25" fmla="*/ 130751 h 388902"/>
                <a:gd name="connsiteX26" fmla="*/ 117520 w 484112"/>
                <a:gd name="connsiteY26" fmla="*/ 265163 h 388902"/>
                <a:gd name="connsiteX27" fmla="*/ 84702 w 484112"/>
                <a:gd name="connsiteY27" fmla="*/ 388903 h 388902"/>
                <a:gd name="connsiteX28" fmla="*/ 0 w 484112"/>
                <a:gd name="connsiteY28" fmla="*/ 388903 h 388902"/>
                <a:gd name="connsiteX29" fmla="*/ 28323 w 484112"/>
                <a:gd name="connsiteY29" fmla="*/ 290696 h 388902"/>
                <a:gd name="connsiteX30" fmla="*/ 60303 w 484112"/>
                <a:gd name="connsiteY30" fmla="*/ 186594 h 388902"/>
                <a:gd name="connsiteX31" fmla="*/ 93114 w 484112"/>
                <a:gd name="connsiteY31" fmla="*/ 86425 h 388902"/>
                <a:gd name="connsiteX32" fmla="*/ 123971 w 484112"/>
                <a:gd name="connsiteY32" fmla="*/ 0 h 388902"/>
                <a:gd name="connsiteX33" fmla="*/ 202508 w 484112"/>
                <a:gd name="connsiteY33" fmla="*/ 0 h 388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4112" h="388902">
                  <a:moveTo>
                    <a:pt x="202508" y="0"/>
                  </a:moveTo>
                  <a:cubicBezTo>
                    <a:pt x="204750" y="10099"/>
                    <a:pt x="207644" y="24408"/>
                    <a:pt x="211200" y="42929"/>
                  </a:cubicBezTo>
                  <a:cubicBezTo>
                    <a:pt x="214755" y="61451"/>
                    <a:pt x="218496" y="81853"/>
                    <a:pt x="222426" y="104094"/>
                  </a:cubicBezTo>
                  <a:cubicBezTo>
                    <a:pt x="226349" y="126363"/>
                    <a:pt x="230361" y="149191"/>
                    <a:pt x="234482" y="172564"/>
                  </a:cubicBezTo>
                  <a:cubicBezTo>
                    <a:pt x="238596" y="195951"/>
                    <a:pt x="242335" y="217367"/>
                    <a:pt x="245700" y="236823"/>
                  </a:cubicBezTo>
                  <a:cubicBezTo>
                    <a:pt x="258411" y="217367"/>
                    <a:pt x="272252" y="196414"/>
                    <a:pt x="287217" y="173967"/>
                  </a:cubicBezTo>
                  <a:cubicBezTo>
                    <a:pt x="302168" y="151515"/>
                    <a:pt x="316950" y="129450"/>
                    <a:pt x="331534" y="107746"/>
                  </a:cubicBezTo>
                  <a:cubicBezTo>
                    <a:pt x="346117" y="86057"/>
                    <a:pt x="359952" y="65758"/>
                    <a:pt x="373043" y="46855"/>
                  </a:cubicBezTo>
                  <a:cubicBezTo>
                    <a:pt x="386128" y="27973"/>
                    <a:pt x="397347" y="12347"/>
                    <a:pt x="406699" y="0"/>
                  </a:cubicBezTo>
                  <a:lnTo>
                    <a:pt x="484113" y="0"/>
                  </a:lnTo>
                  <a:cubicBezTo>
                    <a:pt x="481497" y="25813"/>
                    <a:pt x="478030" y="54807"/>
                    <a:pt x="473739" y="86984"/>
                  </a:cubicBezTo>
                  <a:cubicBezTo>
                    <a:pt x="469434" y="119168"/>
                    <a:pt x="464570" y="152455"/>
                    <a:pt x="459149" y="186874"/>
                  </a:cubicBezTo>
                  <a:cubicBezTo>
                    <a:pt x="453726" y="221299"/>
                    <a:pt x="448018" y="255902"/>
                    <a:pt x="442045" y="290696"/>
                  </a:cubicBezTo>
                  <a:cubicBezTo>
                    <a:pt x="436057" y="325495"/>
                    <a:pt x="430070" y="358232"/>
                    <a:pt x="424089" y="388903"/>
                  </a:cubicBezTo>
                  <a:lnTo>
                    <a:pt x="338822" y="388903"/>
                  </a:lnTo>
                  <a:cubicBezTo>
                    <a:pt x="346676" y="350743"/>
                    <a:pt x="354992" y="309496"/>
                    <a:pt x="363786" y="265163"/>
                  </a:cubicBezTo>
                  <a:cubicBezTo>
                    <a:pt x="372566" y="220829"/>
                    <a:pt x="380706" y="176025"/>
                    <a:pt x="388192" y="130751"/>
                  </a:cubicBezTo>
                  <a:cubicBezTo>
                    <a:pt x="378458" y="146104"/>
                    <a:pt x="367621" y="163215"/>
                    <a:pt x="355653" y="182110"/>
                  </a:cubicBezTo>
                  <a:cubicBezTo>
                    <a:pt x="343678" y="201000"/>
                    <a:pt x="331718" y="220087"/>
                    <a:pt x="319750" y="239344"/>
                  </a:cubicBezTo>
                  <a:cubicBezTo>
                    <a:pt x="307782" y="258614"/>
                    <a:pt x="296188" y="277046"/>
                    <a:pt x="284970" y="294620"/>
                  </a:cubicBezTo>
                  <a:cubicBezTo>
                    <a:pt x="273751" y="312214"/>
                    <a:pt x="264023" y="327179"/>
                    <a:pt x="255802" y="339520"/>
                  </a:cubicBezTo>
                  <a:lnTo>
                    <a:pt x="191848" y="339520"/>
                  </a:lnTo>
                  <a:cubicBezTo>
                    <a:pt x="189975" y="328303"/>
                    <a:pt x="187727" y="314082"/>
                    <a:pt x="185118" y="296863"/>
                  </a:cubicBezTo>
                  <a:cubicBezTo>
                    <a:pt x="182496" y="279663"/>
                    <a:pt x="179595" y="261422"/>
                    <a:pt x="176420" y="242150"/>
                  </a:cubicBezTo>
                  <a:cubicBezTo>
                    <a:pt x="173239" y="222887"/>
                    <a:pt x="169969" y="203432"/>
                    <a:pt x="166605" y="183787"/>
                  </a:cubicBezTo>
                  <a:cubicBezTo>
                    <a:pt x="163240" y="164149"/>
                    <a:pt x="160059" y="146465"/>
                    <a:pt x="157068" y="130751"/>
                  </a:cubicBezTo>
                  <a:cubicBezTo>
                    <a:pt x="142478" y="176025"/>
                    <a:pt x="129297" y="220829"/>
                    <a:pt x="117520" y="265163"/>
                  </a:cubicBezTo>
                  <a:cubicBezTo>
                    <a:pt x="105736" y="309496"/>
                    <a:pt x="94804" y="350743"/>
                    <a:pt x="84702" y="388903"/>
                  </a:cubicBezTo>
                  <a:lnTo>
                    <a:pt x="0" y="388903"/>
                  </a:lnTo>
                  <a:cubicBezTo>
                    <a:pt x="8597" y="358232"/>
                    <a:pt x="18037" y="325495"/>
                    <a:pt x="28323" y="290696"/>
                  </a:cubicBezTo>
                  <a:cubicBezTo>
                    <a:pt x="38608" y="255902"/>
                    <a:pt x="49268" y="221210"/>
                    <a:pt x="60303" y="186594"/>
                  </a:cubicBezTo>
                  <a:cubicBezTo>
                    <a:pt x="71324" y="151999"/>
                    <a:pt x="82264" y="118595"/>
                    <a:pt x="93114" y="86425"/>
                  </a:cubicBezTo>
                  <a:cubicBezTo>
                    <a:pt x="103959" y="54255"/>
                    <a:pt x="114244" y="25444"/>
                    <a:pt x="123971" y="0"/>
                  </a:cubicBezTo>
                  <a:lnTo>
                    <a:pt x="202508" y="0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8F9346B7-79C0-145B-3286-451DD1BC12E5}"/>
                </a:ext>
              </a:extLst>
            </p:cNvPr>
            <p:cNvSpPr/>
            <p:nvPr/>
          </p:nvSpPr>
          <p:spPr>
            <a:xfrm>
              <a:off x="10190658" y="1454244"/>
              <a:ext cx="368560" cy="399008"/>
            </a:xfrm>
            <a:custGeom>
              <a:avLst/>
              <a:gdLst>
                <a:gd name="connsiteX0" fmla="*/ 368561 w 368560"/>
                <a:gd name="connsiteY0" fmla="*/ 0 h 399008"/>
                <a:gd name="connsiteX1" fmla="*/ 336866 w 368560"/>
                <a:gd name="connsiteY1" fmla="*/ 79686 h 399008"/>
                <a:gd name="connsiteX2" fmla="*/ 303489 w 368560"/>
                <a:gd name="connsiteY2" fmla="*/ 150117 h 399008"/>
                <a:gd name="connsiteX3" fmla="*/ 267586 w 368560"/>
                <a:gd name="connsiteY3" fmla="*/ 213818 h 399008"/>
                <a:gd name="connsiteX4" fmla="*/ 228317 w 368560"/>
                <a:gd name="connsiteY4" fmla="*/ 273865 h 399008"/>
                <a:gd name="connsiteX5" fmla="*/ 196902 w 368560"/>
                <a:gd name="connsiteY5" fmla="*/ 318192 h 399008"/>
                <a:gd name="connsiteX6" fmla="*/ 160719 w 368560"/>
                <a:gd name="connsiteY6" fmla="*/ 358600 h 399008"/>
                <a:gd name="connsiteX7" fmla="*/ 116403 w 368560"/>
                <a:gd name="connsiteY7" fmla="*/ 387785 h 399008"/>
                <a:gd name="connsiteX8" fmla="*/ 60024 w 368560"/>
                <a:gd name="connsiteY8" fmla="*/ 399008 h 399008"/>
                <a:gd name="connsiteX9" fmla="*/ 26367 w 368560"/>
                <a:gd name="connsiteY9" fmla="*/ 395363 h 399008"/>
                <a:gd name="connsiteX10" fmla="*/ 0 w 368560"/>
                <a:gd name="connsiteY10" fmla="*/ 385537 h 399008"/>
                <a:gd name="connsiteX11" fmla="*/ 25244 w 368560"/>
                <a:gd name="connsiteY11" fmla="*/ 319881 h 399008"/>
                <a:gd name="connsiteX12" fmla="*/ 45440 w 368560"/>
                <a:gd name="connsiteY12" fmla="*/ 326900 h 399008"/>
                <a:gd name="connsiteX13" fmla="*/ 67319 w 368560"/>
                <a:gd name="connsiteY13" fmla="*/ 329421 h 399008"/>
                <a:gd name="connsiteX14" fmla="*/ 104625 w 368560"/>
                <a:gd name="connsiteY14" fmla="*/ 316794 h 399008"/>
                <a:gd name="connsiteX15" fmla="*/ 134072 w 368560"/>
                <a:gd name="connsiteY15" fmla="*/ 282839 h 399008"/>
                <a:gd name="connsiteX16" fmla="*/ 107425 w 368560"/>
                <a:gd name="connsiteY16" fmla="*/ 157137 h 399008"/>
                <a:gd name="connsiteX17" fmla="*/ 90880 w 368560"/>
                <a:gd name="connsiteY17" fmla="*/ 0 h 399008"/>
                <a:gd name="connsiteX18" fmla="*/ 176705 w 368560"/>
                <a:gd name="connsiteY18" fmla="*/ 0 h 399008"/>
                <a:gd name="connsiteX19" fmla="*/ 178953 w 368560"/>
                <a:gd name="connsiteY19" fmla="*/ 48266 h 399008"/>
                <a:gd name="connsiteX20" fmla="*/ 182877 w 368560"/>
                <a:gd name="connsiteY20" fmla="*/ 101294 h 399008"/>
                <a:gd name="connsiteX21" fmla="*/ 187924 w 368560"/>
                <a:gd name="connsiteY21" fmla="*/ 153198 h 399008"/>
                <a:gd name="connsiteX22" fmla="*/ 194096 w 368560"/>
                <a:gd name="connsiteY22" fmla="*/ 198663 h 399008"/>
                <a:gd name="connsiteX23" fmla="*/ 241498 w 368560"/>
                <a:gd name="connsiteY23" fmla="*/ 108878 h 399008"/>
                <a:gd name="connsiteX24" fmla="*/ 279928 w 368560"/>
                <a:gd name="connsiteY24" fmla="*/ 0 h 399008"/>
                <a:gd name="connsiteX25" fmla="*/ 368561 w 368560"/>
                <a:gd name="connsiteY25" fmla="*/ 0 h 39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8560" h="399008">
                  <a:moveTo>
                    <a:pt x="368561" y="0"/>
                  </a:moveTo>
                  <a:cubicBezTo>
                    <a:pt x="358084" y="28436"/>
                    <a:pt x="347527" y="54998"/>
                    <a:pt x="336866" y="79686"/>
                  </a:cubicBezTo>
                  <a:cubicBezTo>
                    <a:pt x="326206" y="104374"/>
                    <a:pt x="315076" y="127870"/>
                    <a:pt x="303489" y="150117"/>
                  </a:cubicBezTo>
                  <a:cubicBezTo>
                    <a:pt x="291889" y="172380"/>
                    <a:pt x="279928" y="193606"/>
                    <a:pt x="267586" y="213818"/>
                  </a:cubicBezTo>
                  <a:cubicBezTo>
                    <a:pt x="255243" y="234015"/>
                    <a:pt x="242151" y="254035"/>
                    <a:pt x="228317" y="273865"/>
                  </a:cubicBezTo>
                  <a:cubicBezTo>
                    <a:pt x="218215" y="288453"/>
                    <a:pt x="207746" y="303227"/>
                    <a:pt x="196902" y="318192"/>
                  </a:cubicBezTo>
                  <a:cubicBezTo>
                    <a:pt x="186051" y="333162"/>
                    <a:pt x="173987" y="346626"/>
                    <a:pt x="160719" y="358600"/>
                  </a:cubicBezTo>
                  <a:cubicBezTo>
                    <a:pt x="147443" y="370572"/>
                    <a:pt x="132675" y="380303"/>
                    <a:pt x="116403" y="387785"/>
                  </a:cubicBezTo>
                  <a:cubicBezTo>
                    <a:pt x="100137" y="395267"/>
                    <a:pt x="81343" y="399008"/>
                    <a:pt x="60024" y="399008"/>
                  </a:cubicBezTo>
                  <a:cubicBezTo>
                    <a:pt x="46932" y="399008"/>
                    <a:pt x="35713" y="397795"/>
                    <a:pt x="26367" y="395363"/>
                  </a:cubicBezTo>
                  <a:cubicBezTo>
                    <a:pt x="17015" y="392923"/>
                    <a:pt x="8235" y="389652"/>
                    <a:pt x="0" y="385537"/>
                  </a:cubicBezTo>
                  <a:lnTo>
                    <a:pt x="25244" y="319881"/>
                  </a:lnTo>
                  <a:cubicBezTo>
                    <a:pt x="32722" y="322872"/>
                    <a:pt x="39452" y="325210"/>
                    <a:pt x="45440" y="326900"/>
                  </a:cubicBezTo>
                  <a:cubicBezTo>
                    <a:pt x="51420" y="328583"/>
                    <a:pt x="58709" y="329421"/>
                    <a:pt x="67319" y="329421"/>
                  </a:cubicBezTo>
                  <a:cubicBezTo>
                    <a:pt x="80404" y="329421"/>
                    <a:pt x="92842" y="325210"/>
                    <a:pt x="104625" y="316794"/>
                  </a:cubicBezTo>
                  <a:cubicBezTo>
                    <a:pt x="116403" y="308379"/>
                    <a:pt x="126225" y="297061"/>
                    <a:pt x="134072" y="282839"/>
                  </a:cubicBezTo>
                  <a:cubicBezTo>
                    <a:pt x="124345" y="245435"/>
                    <a:pt x="115469" y="203528"/>
                    <a:pt x="107425" y="157137"/>
                  </a:cubicBezTo>
                  <a:cubicBezTo>
                    <a:pt x="99381" y="110752"/>
                    <a:pt x="93870" y="58364"/>
                    <a:pt x="90880" y="0"/>
                  </a:cubicBezTo>
                  <a:lnTo>
                    <a:pt x="176705" y="0"/>
                  </a:lnTo>
                  <a:cubicBezTo>
                    <a:pt x="177074" y="14597"/>
                    <a:pt x="177830" y="30684"/>
                    <a:pt x="178953" y="48266"/>
                  </a:cubicBezTo>
                  <a:cubicBezTo>
                    <a:pt x="180077" y="65860"/>
                    <a:pt x="181378" y="83536"/>
                    <a:pt x="182877" y="101294"/>
                  </a:cubicBezTo>
                  <a:cubicBezTo>
                    <a:pt x="184369" y="119079"/>
                    <a:pt x="186051" y="136373"/>
                    <a:pt x="187924" y="153198"/>
                  </a:cubicBezTo>
                  <a:cubicBezTo>
                    <a:pt x="189797" y="170043"/>
                    <a:pt x="191854" y="185198"/>
                    <a:pt x="194096" y="198663"/>
                  </a:cubicBezTo>
                  <a:cubicBezTo>
                    <a:pt x="212051" y="171726"/>
                    <a:pt x="227840" y="141804"/>
                    <a:pt x="241498" y="108878"/>
                  </a:cubicBezTo>
                  <a:cubicBezTo>
                    <a:pt x="255148" y="75951"/>
                    <a:pt x="267953" y="39659"/>
                    <a:pt x="279928" y="0"/>
                  </a:cubicBezTo>
                  <a:lnTo>
                    <a:pt x="368561" y="0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DAA8B461-8FF9-EE28-9FF1-532BB255E911}"/>
                </a:ext>
              </a:extLst>
            </p:cNvPr>
            <p:cNvSpPr/>
            <p:nvPr/>
          </p:nvSpPr>
          <p:spPr>
            <a:xfrm>
              <a:off x="9650992" y="1856059"/>
              <a:ext cx="344999" cy="388902"/>
            </a:xfrm>
            <a:custGeom>
              <a:avLst/>
              <a:gdLst>
                <a:gd name="connsiteX0" fmla="*/ 0 w 344999"/>
                <a:gd name="connsiteY0" fmla="*/ 388903 h 388902"/>
                <a:gd name="connsiteX1" fmla="*/ 93121 w 344999"/>
                <a:gd name="connsiteY1" fmla="*/ 0 h 388902"/>
                <a:gd name="connsiteX2" fmla="*/ 344999 w 344999"/>
                <a:gd name="connsiteY2" fmla="*/ 0 h 388902"/>
                <a:gd name="connsiteX3" fmla="*/ 327045 w 344999"/>
                <a:gd name="connsiteY3" fmla="*/ 72401 h 388902"/>
                <a:gd name="connsiteX4" fmla="*/ 162681 w 344999"/>
                <a:gd name="connsiteY4" fmla="*/ 72401 h 388902"/>
                <a:gd name="connsiteX5" fmla="*/ 143050 w 344999"/>
                <a:gd name="connsiteY5" fmla="*/ 155446 h 388902"/>
                <a:gd name="connsiteX6" fmla="*/ 288342 w 344999"/>
                <a:gd name="connsiteY6" fmla="*/ 155446 h 388902"/>
                <a:gd name="connsiteX7" fmla="*/ 270951 w 344999"/>
                <a:gd name="connsiteY7" fmla="*/ 227848 h 388902"/>
                <a:gd name="connsiteX8" fmla="*/ 125660 w 344999"/>
                <a:gd name="connsiteY8" fmla="*/ 227848 h 388902"/>
                <a:gd name="connsiteX9" fmla="*/ 86950 w 344999"/>
                <a:gd name="connsiteY9" fmla="*/ 388903 h 388902"/>
                <a:gd name="connsiteX10" fmla="*/ 0 w 344999"/>
                <a:gd name="connsiteY10" fmla="*/ 388903 h 388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4999" h="388902">
                  <a:moveTo>
                    <a:pt x="0" y="388903"/>
                  </a:moveTo>
                  <a:lnTo>
                    <a:pt x="93121" y="0"/>
                  </a:lnTo>
                  <a:lnTo>
                    <a:pt x="344999" y="0"/>
                  </a:lnTo>
                  <a:lnTo>
                    <a:pt x="327045" y="72401"/>
                  </a:lnTo>
                  <a:lnTo>
                    <a:pt x="162681" y="72401"/>
                  </a:lnTo>
                  <a:lnTo>
                    <a:pt x="143050" y="155446"/>
                  </a:lnTo>
                  <a:lnTo>
                    <a:pt x="288342" y="155446"/>
                  </a:lnTo>
                  <a:lnTo>
                    <a:pt x="270951" y="227848"/>
                  </a:lnTo>
                  <a:lnTo>
                    <a:pt x="125660" y="227848"/>
                  </a:lnTo>
                  <a:lnTo>
                    <a:pt x="86950" y="388903"/>
                  </a:lnTo>
                  <a:lnTo>
                    <a:pt x="0" y="388903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1DD20565-B776-F020-8FF3-B44F59719513}"/>
                </a:ext>
              </a:extLst>
            </p:cNvPr>
            <p:cNvSpPr/>
            <p:nvPr/>
          </p:nvSpPr>
          <p:spPr>
            <a:xfrm>
              <a:off x="9970745" y="1815098"/>
              <a:ext cx="181195" cy="429869"/>
            </a:xfrm>
            <a:custGeom>
              <a:avLst/>
              <a:gdLst>
                <a:gd name="connsiteX0" fmla="*/ 123412 w 181195"/>
                <a:gd name="connsiteY0" fmla="*/ 98772 h 429869"/>
                <a:gd name="connsiteX1" fmla="*/ 91997 w 181195"/>
                <a:gd name="connsiteY1" fmla="*/ 88394 h 429869"/>
                <a:gd name="connsiteX2" fmla="*/ 77972 w 181195"/>
                <a:gd name="connsiteY2" fmla="*/ 56675 h 429869"/>
                <a:gd name="connsiteX3" fmla="*/ 82740 w 181195"/>
                <a:gd name="connsiteY3" fmla="*/ 34514 h 429869"/>
                <a:gd name="connsiteX4" fmla="*/ 95362 w 181195"/>
                <a:gd name="connsiteY4" fmla="*/ 16559 h 429869"/>
                <a:gd name="connsiteX5" fmla="*/ 113597 w 181195"/>
                <a:gd name="connsiteY5" fmla="*/ 4491 h 429869"/>
                <a:gd name="connsiteX6" fmla="*/ 135756 w 181195"/>
                <a:gd name="connsiteY6" fmla="*/ 0 h 429869"/>
                <a:gd name="connsiteX7" fmla="*/ 167170 w 181195"/>
                <a:gd name="connsiteY7" fmla="*/ 10378 h 429869"/>
                <a:gd name="connsiteX8" fmla="*/ 181195 w 181195"/>
                <a:gd name="connsiteY8" fmla="*/ 42091 h 429869"/>
                <a:gd name="connsiteX9" fmla="*/ 176421 w 181195"/>
                <a:gd name="connsiteY9" fmla="*/ 64258 h 429869"/>
                <a:gd name="connsiteX10" fmla="*/ 163805 w 181195"/>
                <a:gd name="connsiteY10" fmla="*/ 82214 h 429869"/>
                <a:gd name="connsiteX11" fmla="*/ 145571 w 181195"/>
                <a:gd name="connsiteY11" fmla="*/ 94283 h 429869"/>
                <a:gd name="connsiteX12" fmla="*/ 123412 w 181195"/>
                <a:gd name="connsiteY12" fmla="*/ 98772 h 429869"/>
                <a:gd name="connsiteX13" fmla="*/ 83027 w 181195"/>
                <a:gd name="connsiteY13" fmla="*/ 429869 h 429869"/>
                <a:gd name="connsiteX14" fmla="*/ 0 w 181195"/>
                <a:gd name="connsiteY14" fmla="*/ 429869 h 429869"/>
                <a:gd name="connsiteX15" fmla="*/ 70118 w 181195"/>
                <a:gd name="connsiteY15" fmla="*/ 134691 h 429869"/>
                <a:gd name="connsiteX16" fmla="*/ 153703 w 181195"/>
                <a:gd name="connsiteY16" fmla="*/ 134691 h 429869"/>
                <a:gd name="connsiteX17" fmla="*/ 83027 w 181195"/>
                <a:gd name="connsiteY17" fmla="*/ 429869 h 429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1195" h="429869">
                  <a:moveTo>
                    <a:pt x="123412" y="98772"/>
                  </a:moveTo>
                  <a:cubicBezTo>
                    <a:pt x="111813" y="98772"/>
                    <a:pt x="101343" y="95311"/>
                    <a:pt x="91997" y="88394"/>
                  </a:cubicBezTo>
                  <a:cubicBezTo>
                    <a:pt x="82645" y="81471"/>
                    <a:pt x="77972" y="70903"/>
                    <a:pt x="77972" y="56675"/>
                  </a:cubicBezTo>
                  <a:cubicBezTo>
                    <a:pt x="77972" y="48825"/>
                    <a:pt x="79560" y="41438"/>
                    <a:pt x="82740" y="34514"/>
                  </a:cubicBezTo>
                  <a:cubicBezTo>
                    <a:pt x="85915" y="27598"/>
                    <a:pt x="90118" y="21602"/>
                    <a:pt x="95362" y="16559"/>
                  </a:cubicBezTo>
                  <a:cubicBezTo>
                    <a:pt x="100594" y="11503"/>
                    <a:pt x="106670" y="7490"/>
                    <a:pt x="113597" y="4491"/>
                  </a:cubicBezTo>
                  <a:cubicBezTo>
                    <a:pt x="120511" y="1499"/>
                    <a:pt x="127901" y="0"/>
                    <a:pt x="135756" y="0"/>
                  </a:cubicBezTo>
                  <a:cubicBezTo>
                    <a:pt x="147342" y="0"/>
                    <a:pt x="157818" y="3462"/>
                    <a:pt x="167170" y="10378"/>
                  </a:cubicBezTo>
                  <a:cubicBezTo>
                    <a:pt x="176508" y="17309"/>
                    <a:pt x="181195" y="27878"/>
                    <a:pt x="181195" y="42091"/>
                  </a:cubicBezTo>
                  <a:cubicBezTo>
                    <a:pt x="181195" y="49949"/>
                    <a:pt x="179595" y="57335"/>
                    <a:pt x="176421" y="64258"/>
                  </a:cubicBezTo>
                  <a:cubicBezTo>
                    <a:pt x="173239" y="71182"/>
                    <a:pt x="169037" y="77165"/>
                    <a:pt x="163805" y="82214"/>
                  </a:cubicBezTo>
                  <a:cubicBezTo>
                    <a:pt x="158561" y="87271"/>
                    <a:pt x="152484" y="91284"/>
                    <a:pt x="145571" y="94283"/>
                  </a:cubicBezTo>
                  <a:cubicBezTo>
                    <a:pt x="138643" y="97274"/>
                    <a:pt x="131266" y="98772"/>
                    <a:pt x="123412" y="98772"/>
                  </a:cubicBezTo>
                  <a:moveTo>
                    <a:pt x="83027" y="429869"/>
                  </a:moveTo>
                  <a:lnTo>
                    <a:pt x="0" y="429869"/>
                  </a:lnTo>
                  <a:lnTo>
                    <a:pt x="70118" y="134691"/>
                  </a:lnTo>
                  <a:lnTo>
                    <a:pt x="153703" y="134691"/>
                  </a:lnTo>
                  <a:lnTo>
                    <a:pt x="83027" y="429869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A4F275D-C4FC-3951-99AE-DEF9BD87E8F2}"/>
                </a:ext>
              </a:extLst>
            </p:cNvPr>
            <p:cNvSpPr/>
            <p:nvPr/>
          </p:nvSpPr>
          <p:spPr>
            <a:xfrm>
              <a:off x="10129500" y="1943608"/>
              <a:ext cx="250195" cy="301353"/>
            </a:xfrm>
            <a:custGeom>
              <a:avLst/>
              <a:gdLst>
                <a:gd name="connsiteX0" fmla="*/ 225511 w 250195"/>
                <a:gd name="connsiteY0" fmla="*/ 78010 h 301353"/>
                <a:gd name="connsiteX1" fmla="*/ 203353 w 250195"/>
                <a:gd name="connsiteY1" fmla="*/ 72674 h 301353"/>
                <a:gd name="connsiteX2" fmla="*/ 171100 w 250195"/>
                <a:gd name="connsiteY2" fmla="*/ 70146 h 301353"/>
                <a:gd name="connsiteX3" fmla="*/ 153710 w 250195"/>
                <a:gd name="connsiteY3" fmla="*/ 71550 h 301353"/>
                <a:gd name="connsiteX4" fmla="*/ 138002 w 250195"/>
                <a:gd name="connsiteY4" fmla="*/ 74637 h 301353"/>
                <a:gd name="connsiteX5" fmla="*/ 83585 w 250195"/>
                <a:gd name="connsiteY5" fmla="*/ 301354 h 301353"/>
                <a:gd name="connsiteX6" fmla="*/ 0 w 250195"/>
                <a:gd name="connsiteY6" fmla="*/ 301354 h 301353"/>
                <a:gd name="connsiteX7" fmla="*/ 67319 w 250195"/>
                <a:gd name="connsiteY7" fmla="*/ 21887 h 301353"/>
                <a:gd name="connsiteX8" fmla="*/ 121450 w 250195"/>
                <a:gd name="connsiteY8" fmla="*/ 7012 h 301353"/>
                <a:gd name="connsiteX9" fmla="*/ 189048 w 250195"/>
                <a:gd name="connsiteY9" fmla="*/ 0 h 301353"/>
                <a:gd name="connsiteX10" fmla="*/ 220184 w 250195"/>
                <a:gd name="connsiteY10" fmla="*/ 2522 h 301353"/>
                <a:gd name="connsiteX11" fmla="*/ 250196 w 250195"/>
                <a:gd name="connsiteY11" fmla="*/ 10665 h 301353"/>
                <a:gd name="connsiteX12" fmla="*/ 225511 w 250195"/>
                <a:gd name="connsiteY12" fmla="*/ 78010 h 301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0195" h="301353">
                  <a:moveTo>
                    <a:pt x="225511" y="78010"/>
                  </a:moveTo>
                  <a:cubicBezTo>
                    <a:pt x="218024" y="76136"/>
                    <a:pt x="210648" y="74357"/>
                    <a:pt x="203353" y="72674"/>
                  </a:cubicBezTo>
                  <a:cubicBezTo>
                    <a:pt x="196064" y="70991"/>
                    <a:pt x="185302" y="70146"/>
                    <a:pt x="171100" y="70146"/>
                  </a:cubicBezTo>
                  <a:cubicBezTo>
                    <a:pt x="165855" y="70146"/>
                    <a:pt x="160065" y="70623"/>
                    <a:pt x="153710" y="71550"/>
                  </a:cubicBezTo>
                  <a:cubicBezTo>
                    <a:pt x="147341" y="72490"/>
                    <a:pt x="142110" y="73512"/>
                    <a:pt x="138002" y="74637"/>
                  </a:cubicBezTo>
                  <a:lnTo>
                    <a:pt x="83585" y="301354"/>
                  </a:lnTo>
                  <a:lnTo>
                    <a:pt x="0" y="301354"/>
                  </a:lnTo>
                  <a:lnTo>
                    <a:pt x="67319" y="21887"/>
                  </a:lnTo>
                  <a:cubicBezTo>
                    <a:pt x="83394" y="16647"/>
                    <a:pt x="101438" y="11700"/>
                    <a:pt x="121450" y="7012"/>
                  </a:cubicBezTo>
                  <a:cubicBezTo>
                    <a:pt x="141456" y="2337"/>
                    <a:pt x="163989" y="0"/>
                    <a:pt x="189048" y="0"/>
                  </a:cubicBezTo>
                  <a:cubicBezTo>
                    <a:pt x="198394" y="0"/>
                    <a:pt x="208767" y="839"/>
                    <a:pt x="220184" y="2522"/>
                  </a:cubicBezTo>
                  <a:cubicBezTo>
                    <a:pt x="231587" y="4211"/>
                    <a:pt x="241586" y="6923"/>
                    <a:pt x="250196" y="10665"/>
                  </a:cubicBezTo>
                  <a:lnTo>
                    <a:pt x="225511" y="78010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1AD642A-2B5F-7A63-3270-93CD427D1A5D}"/>
                </a:ext>
              </a:extLst>
            </p:cNvPr>
            <p:cNvSpPr/>
            <p:nvPr/>
          </p:nvSpPr>
          <p:spPr>
            <a:xfrm>
              <a:off x="10357248" y="1941932"/>
              <a:ext cx="270950" cy="310899"/>
            </a:xfrm>
            <a:custGeom>
              <a:avLst/>
              <a:gdLst>
                <a:gd name="connsiteX0" fmla="*/ 107146 w 270950"/>
                <a:gd name="connsiteY0" fmla="*/ 243555 h 310899"/>
                <a:gd name="connsiteX1" fmla="*/ 146415 w 270950"/>
                <a:gd name="connsiteY1" fmla="*/ 235412 h 310899"/>
                <a:gd name="connsiteX2" fmla="*/ 157075 w 270950"/>
                <a:gd name="connsiteY2" fmla="*/ 217735 h 310899"/>
                <a:gd name="connsiteX3" fmla="*/ 155113 w 270950"/>
                <a:gd name="connsiteY3" fmla="*/ 207071 h 310899"/>
                <a:gd name="connsiteX4" fmla="*/ 148656 w 270950"/>
                <a:gd name="connsiteY4" fmla="*/ 198655 h 310899"/>
                <a:gd name="connsiteX5" fmla="*/ 136314 w 270950"/>
                <a:gd name="connsiteY5" fmla="*/ 190520 h 310899"/>
                <a:gd name="connsiteX6" fmla="*/ 116123 w 270950"/>
                <a:gd name="connsiteY6" fmla="*/ 180687 h 310899"/>
                <a:gd name="connsiteX7" fmla="*/ 89757 w 270950"/>
                <a:gd name="connsiteY7" fmla="*/ 167508 h 310899"/>
                <a:gd name="connsiteX8" fmla="*/ 68156 w 270950"/>
                <a:gd name="connsiteY8" fmla="*/ 150670 h 310899"/>
                <a:gd name="connsiteX9" fmla="*/ 53574 w 270950"/>
                <a:gd name="connsiteY9" fmla="*/ 128224 h 310899"/>
                <a:gd name="connsiteX10" fmla="*/ 48247 w 270950"/>
                <a:gd name="connsiteY10" fmla="*/ 98200 h 310899"/>
                <a:gd name="connsiteX11" fmla="*/ 81623 w 270950"/>
                <a:gd name="connsiteY11" fmla="*/ 26364 h 310899"/>
                <a:gd name="connsiteX12" fmla="*/ 178954 w 270950"/>
                <a:gd name="connsiteY12" fmla="*/ 0 h 310899"/>
                <a:gd name="connsiteX13" fmla="*/ 232806 w 270950"/>
                <a:gd name="connsiteY13" fmla="*/ 6725 h 310899"/>
                <a:gd name="connsiteX14" fmla="*/ 270951 w 270950"/>
                <a:gd name="connsiteY14" fmla="*/ 21322 h 310899"/>
                <a:gd name="connsiteX15" fmla="*/ 242342 w 270950"/>
                <a:gd name="connsiteY15" fmla="*/ 83610 h 310899"/>
                <a:gd name="connsiteX16" fmla="*/ 212044 w 270950"/>
                <a:gd name="connsiteY16" fmla="*/ 71822 h 310899"/>
                <a:gd name="connsiteX17" fmla="*/ 175582 w 270950"/>
                <a:gd name="connsiteY17" fmla="*/ 66221 h 310899"/>
                <a:gd name="connsiteX18" fmla="*/ 160154 w 270950"/>
                <a:gd name="connsiteY18" fmla="*/ 67059 h 310899"/>
                <a:gd name="connsiteX19" fmla="*/ 146129 w 270950"/>
                <a:gd name="connsiteY19" fmla="*/ 70705 h 310899"/>
                <a:gd name="connsiteX20" fmla="*/ 135755 w 270950"/>
                <a:gd name="connsiteY20" fmla="*/ 78561 h 310899"/>
                <a:gd name="connsiteX21" fmla="*/ 131824 w 270950"/>
                <a:gd name="connsiteY21" fmla="*/ 92033 h 310899"/>
                <a:gd name="connsiteX22" fmla="*/ 140523 w 270950"/>
                <a:gd name="connsiteY22" fmla="*/ 108858 h 310899"/>
                <a:gd name="connsiteX23" fmla="*/ 164929 w 270950"/>
                <a:gd name="connsiteY23" fmla="*/ 122330 h 310899"/>
                <a:gd name="connsiteX24" fmla="*/ 201391 w 270950"/>
                <a:gd name="connsiteY24" fmla="*/ 141982 h 310899"/>
                <a:gd name="connsiteX25" fmla="*/ 224666 w 270950"/>
                <a:gd name="connsiteY25" fmla="*/ 161055 h 310899"/>
                <a:gd name="connsiteX26" fmla="*/ 237288 w 270950"/>
                <a:gd name="connsiteY26" fmla="*/ 184066 h 310899"/>
                <a:gd name="connsiteX27" fmla="*/ 241218 w 270950"/>
                <a:gd name="connsiteY27" fmla="*/ 214369 h 310899"/>
                <a:gd name="connsiteX28" fmla="*/ 233644 w 270950"/>
                <a:gd name="connsiteY28" fmla="*/ 249722 h 310899"/>
                <a:gd name="connsiteX29" fmla="*/ 209804 w 270950"/>
                <a:gd name="connsiteY29" fmla="*/ 280590 h 310899"/>
                <a:gd name="connsiteX30" fmla="*/ 168294 w 270950"/>
                <a:gd name="connsiteY30" fmla="*/ 302470 h 310899"/>
                <a:gd name="connsiteX31" fmla="*/ 107711 w 270950"/>
                <a:gd name="connsiteY31" fmla="*/ 310900 h 310899"/>
                <a:gd name="connsiteX32" fmla="*/ 68156 w 270950"/>
                <a:gd name="connsiteY32" fmla="*/ 308092 h 310899"/>
                <a:gd name="connsiteX33" fmla="*/ 37028 w 270950"/>
                <a:gd name="connsiteY33" fmla="*/ 301067 h 310899"/>
                <a:gd name="connsiteX34" fmla="*/ 14304 w 270950"/>
                <a:gd name="connsiteY34" fmla="*/ 292372 h 310899"/>
                <a:gd name="connsiteX35" fmla="*/ 0 w 270950"/>
                <a:gd name="connsiteY35" fmla="*/ 285081 h 310899"/>
                <a:gd name="connsiteX36" fmla="*/ 28609 w 270950"/>
                <a:gd name="connsiteY36" fmla="*/ 221095 h 310899"/>
                <a:gd name="connsiteX37" fmla="*/ 58341 w 270950"/>
                <a:gd name="connsiteY37" fmla="*/ 235139 h 310899"/>
                <a:gd name="connsiteX38" fmla="*/ 107146 w 270950"/>
                <a:gd name="connsiteY38" fmla="*/ 243555 h 31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70950" h="310899">
                  <a:moveTo>
                    <a:pt x="107146" y="243555"/>
                  </a:moveTo>
                  <a:cubicBezTo>
                    <a:pt x="126219" y="243555"/>
                    <a:pt x="139304" y="240843"/>
                    <a:pt x="146415" y="235412"/>
                  </a:cubicBezTo>
                  <a:cubicBezTo>
                    <a:pt x="153512" y="229994"/>
                    <a:pt x="157075" y="224100"/>
                    <a:pt x="157075" y="217735"/>
                  </a:cubicBezTo>
                  <a:cubicBezTo>
                    <a:pt x="157075" y="213620"/>
                    <a:pt x="156414" y="210070"/>
                    <a:pt x="155113" y="207071"/>
                  </a:cubicBezTo>
                  <a:cubicBezTo>
                    <a:pt x="153792" y="204079"/>
                    <a:pt x="151646" y="201279"/>
                    <a:pt x="148656" y="198655"/>
                  </a:cubicBezTo>
                  <a:cubicBezTo>
                    <a:pt x="145659" y="196038"/>
                    <a:pt x="141552" y="193320"/>
                    <a:pt x="136314" y="190520"/>
                  </a:cubicBezTo>
                  <a:cubicBezTo>
                    <a:pt x="131076" y="187712"/>
                    <a:pt x="124346" y="184434"/>
                    <a:pt x="116123" y="180687"/>
                  </a:cubicBezTo>
                  <a:cubicBezTo>
                    <a:pt x="106772" y="176584"/>
                    <a:pt x="97978" y="172189"/>
                    <a:pt x="89757" y="167508"/>
                  </a:cubicBezTo>
                  <a:cubicBezTo>
                    <a:pt x="81528" y="162833"/>
                    <a:pt x="74328" y="157218"/>
                    <a:pt x="68156" y="150670"/>
                  </a:cubicBezTo>
                  <a:cubicBezTo>
                    <a:pt x="61986" y="144135"/>
                    <a:pt x="57122" y="136646"/>
                    <a:pt x="53574" y="128224"/>
                  </a:cubicBezTo>
                  <a:cubicBezTo>
                    <a:pt x="50018" y="119808"/>
                    <a:pt x="48247" y="109798"/>
                    <a:pt x="48247" y="98200"/>
                  </a:cubicBezTo>
                  <a:cubicBezTo>
                    <a:pt x="48247" y="67897"/>
                    <a:pt x="59370" y="43958"/>
                    <a:pt x="81623" y="26364"/>
                  </a:cubicBezTo>
                  <a:cubicBezTo>
                    <a:pt x="103870" y="8790"/>
                    <a:pt x="136314" y="0"/>
                    <a:pt x="178954" y="0"/>
                  </a:cubicBezTo>
                  <a:cubicBezTo>
                    <a:pt x="199143" y="0"/>
                    <a:pt x="217092" y="2235"/>
                    <a:pt x="232806" y="6725"/>
                  </a:cubicBezTo>
                  <a:cubicBezTo>
                    <a:pt x="248507" y="11216"/>
                    <a:pt x="261218" y="16082"/>
                    <a:pt x="270951" y="21322"/>
                  </a:cubicBezTo>
                  <a:lnTo>
                    <a:pt x="242342" y="83610"/>
                  </a:lnTo>
                  <a:cubicBezTo>
                    <a:pt x="234488" y="79495"/>
                    <a:pt x="224387" y="75570"/>
                    <a:pt x="212044" y="71822"/>
                  </a:cubicBezTo>
                  <a:cubicBezTo>
                    <a:pt x="199702" y="68088"/>
                    <a:pt x="187550" y="66221"/>
                    <a:pt x="175582" y="66221"/>
                  </a:cubicBezTo>
                  <a:cubicBezTo>
                    <a:pt x="170344" y="66221"/>
                    <a:pt x="165208" y="66494"/>
                    <a:pt x="160154" y="67059"/>
                  </a:cubicBezTo>
                  <a:cubicBezTo>
                    <a:pt x="155113" y="67617"/>
                    <a:pt x="150427" y="68837"/>
                    <a:pt x="146129" y="70705"/>
                  </a:cubicBezTo>
                  <a:cubicBezTo>
                    <a:pt x="141830" y="72578"/>
                    <a:pt x="138363" y="75188"/>
                    <a:pt x="135755" y="78561"/>
                  </a:cubicBezTo>
                  <a:cubicBezTo>
                    <a:pt x="133132" y="81921"/>
                    <a:pt x="131824" y="86411"/>
                    <a:pt x="131824" y="92033"/>
                  </a:cubicBezTo>
                  <a:cubicBezTo>
                    <a:pt x="131824" y="99516"/>
                    <a:pt x="134720" y="105130"/>
                    <a:pt x="140523" y="108858"/>
                  </a:cubicBezTo>
                  <a:cubicBezTo>
                    <a:pt x="146312" y="112606"/>
                    <a:pt x="154453" y="117089"/>
                    <a:pt x="164929" y="122330"/>
                  </a:cubicBezTo>
                  <a:cubicBezTo>
                    <a:pt x="179512" y="129444"/>
                    <a:pt x="191657" y="135991"/>
                    <a:pt x="201391" y="141982"/>
                  </a:cubicBezTo>
                  <a:cubicBezTo>
                    <a:pt x="211111" y="147965"/>
                    <a:pt x="218870" y="154323"/>
                    <a:pt x="224666" y="161055"/>
                  </a:cubicBezTo>
                  <a:cubicBezTo>
                    <a:pt x="230463" y="167793"/>
                    <a:pt x="234672" y="175460"/>
                    <a:pt x="237288" y="184066"/>
                  </a:cubicBezTo>
                  <a:cubicBezTo>
                    <a:pt x="239904" y="192672"/>
                    <a:pt x="241218" y="202778"/>
                    <a:pt x="241218" y="214369"/>
                  </a:cubicBezTo>
                  <a:cubicBezTo>
                    <a:pt x="241218" y="226348"/>
                    <a:pt x="238691" y="238130"/>
                    <a:pt x="233644" y="249722"/>
                  </a:cubicBezTo>
                  <a:cubicBezTo>
                    <a:pt x="228596" y="261320"/>
                    <a:pt x="220647" y="271609"/>
                    <a:pt x="209804" y="280590"/>
                  </a:cubicBezTo>
                  <a:cubicBezTo>
                    <a:pt x="198952" y="289565"/>
                    <a:pt x="185126" y="296855"/>
                    <a:pt x="168294" y="302470"/>
                  </a:cubicBezTo>
                  <a:cubicBezTo>
                    <a:pt x="151463" y="308092"/>
                    <a:pt x="131266" y="310900"/>
                    <a:pt x="107711" y="310900"/>
                  </a:cubicBezTo>
                  <a:cubicBezTo>
                    <a:pt x="93121" y="310900"/>
                    <a:pt x="79941" y="309953"/>
                    <a:pt x="68156" y="308092"/>
                  </a:cubicBezTo>
                  <a:cubicBezTo>
                    <a:pt x="56379" y="306205"/>
                    <a:pt x="45999" y="303881"/>
                    <a:pt x="37028" y="301067"/>
                  </a:cubicBezTo>
                  <a:cubicBezTo>
                    <a:pt x="28050" y="298266"/>
                    <a:pt x="20476" y="295370"/>
                    <a:pt x="14304" y="292372"/>
                  </a:cubicBezTo>
                  <a:cubicBezTo>
                    <a:pt x="8134" y="289387"/>
                    <a:pt x="3365" y="286955"/>
                    <a:pt x="0" y="285081"/>
                  </a:cubicBezTo>
                  <a:lnTo>
                    <a:pt x="28609" y="221095"/>
                  </a:lnTo>
                  <a:cubicBezTo>
                    <a:pt x="34964" y="224843"/>
                    <a:pt x="44875" y="229518"/>
                    <a:pt x="58341" y="235139"/>
                  </a:cubicBezTo>
                  <a:cubicBezTo>
                    <a:pt x="71801" y="240740"/>
                    <a:pt x="88074" y="243555"/>
                    <a:pt x="107146" y="243555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A00982-F183-79EA-1CBC-33EB70DC9B52}"/>
                </a:ext>
              </a:extLst>
            </p:cNvPr>
            <p:cNvSpPr/>
            <p:nvPr/>
          </p:nvSpPr>
          <p:spPr>
            <a:xfrm>
              <a:off x="10656671" y="1862791"/>
              <a:ext cx="221712" cy="388915"/>
            </a:xfrm>
            <a:custGeom>
              <a:avLst/>
              <a:gdLst>
                <a:gd name="connsiteX0" fmla="*/ 62955 w 221712"/>
                <a:gd name="connsiteY0" fmla="*/ 13472 h 388915"/>
                <a:gd name="connsiteX1" fmla="*/ 149904 w 221712"/>
                <a:gd name="connsiteY1" fmla="*/ 0 h 388915"/>
                <a:gd name="connsiteX2" fmla="*/ 128584 w 221712"/>
                <a:gd name="connsiteY2" fmla="*/ 86991 h 388915"/>
                <a:gd name="connsiteX3" fmla="*/ 221712 w 221712"/>
                <a:gd name="connsiteY3" fmla="*/ 86991 h 388915"/>
                <a:gd name="connsiteX4" fmla="*/ 204881 w 221712"/>
                <a:gd name="connsiteY4" fmla="*/ 155453 h 388915"/>
                <a:gd name="connsiteX5" fmla="*/ 112319 w 221712"/>
                <a:gd name="connsiteY5" fmla="*/ 155453 h 388915"/>
                <a:gd name="connsiteX6" fmla="*/ 87640 w 221712"/>
                <a:gd name="connsiteY6" fmla="*/ 258717 h 388915"/>
                <a:gd name="connsiteX7" fmla="*/ 83431 w 221712"/>
                <a:gd name="connsiteY7" fmla="*/ 282838 h 388915"/>
                <a:gd name="connsiteX8" fmla="*/ 86236 w 221712"/>
                <a:gd name="connsiteY8" fmla="*/ 302205 h 388915"/>
                <a:gd name="connsiteX9" fmla="*/ 98858 w 221712"/>
                <a:gd name="connsiteY9" fmla="*/ 314832 h 388915"/>
                <a:gd name="connsiteX10" fmla="*/ 123536 w 221712"/>
                <a:gd name="connsiteY10" fmla="*/ 319322 h 388915"/>
                <a:gd name="connsiteX11" fmla="*/ 149625 w 221712"/>
                <a:gd name="connsiteY11" fmla="*/ 316794 h 388915"/>
                <a:gd name="connsiteX12" fmla="*/ 175148 w 221712"/>
                <a:gd name="connsiteY12" fmla="*/ 309776 h 388915"/>
                <a:gd name="connsiteX13" fmla="*/ 181320 w 221712"/>
                <a:gd name="connsiteY13" fmla="*/ 373755 h 388915"/>
                <a:gd name="connsiteX14" fmla="*/ 144857 w 221712"/>
                <a:gd name="connsiteY14" fmla="*/ 384426 h 388915"/>
                <a:gd name="connsiteX15" fmla="*/ 98293 w 221712"/>
                <a:gd name="connsiteY15" fmla="*/ 388916 h 388915"/>
                <a:gd name="connsiteX16" fmla="*/ 38269 w 221712"/>
                <a:gd name="connsiteY16" fmla="*/ 377407 h 388915"/>
                <a:gd name="connsiteX17" fmla="*/ 7978 w 221712"/>
                <a:gd name="connsiteY17" fmla="*/ 345979 h 388915"/>
                <a:gd name="connsiteX18" fmla="*/ 125 w 221712"/>
                <a:gd name="connsiteY18" fmla="*/ 300236 h 388915"/>
                <a:gd name="connsiteX19" fmla="*/ 7978 w 221712"/>
                <a:gd name="connsiteY19" fmla="*/ 245811 h 388915"/>
                <a:gd name="connsiteX20" fmla="*/ 62955 w 221712"/>
                <a:gd name="connsiteY20" fmla="*/ 13472 h 388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712" h="388915">
                  <a:moveTo>
                    <a:pt x="62955" y="13472"/>
                  </a:moveTo>
                  <a:lnTo>
                    <a:pt x="149904" y="0"/>
                  </a:lnTo>
                  <a:lnTo>
                    <a:pt x="128584" y="86991"/>
                  </a:lnTo>
                  <a:lnTo>
                    <a:pt x="221712" y="86991"/>
                  </a:lnTo>
                  <a:lnTo>
                    <a:pt x="204881" y="155453"/>
                  </a:lnTo>
                  <a:lnTo>
                    <a:pt x="112319" y="155453"/>
                  </a:lnTo>
                  <a:lnTo>
                    <a:pt x="87640" y="258717"/>
                  </a:lnTo>
                  <a:cubicBezTo>
                    <a:pt x="85393" y="267323"/>
                    <a:pt x="83989" y="275370"/>
                    <a:pt x="83431" y="282838"/>
                  </a:cubicBezTo>
                  <a:cubicBezTo>
                    <a:pt x="82871" y="290334"/>
                    <a:pt x="83798" y="296788"/>
                    <a:pt x="86236" y="302205"/>
                  </a:cubicBezTo>
                  <a:cubicBezTo>
                    <a:pt x="88662" y="307636"/>
                    <a:pt x="92871" y="311847"/>
                    <a:pt x="98858" y="314832"/>
                  </a:cubicBezTo>
                  <a:cubicBezTo>
                    <a:pt x="104832" y="317830"/>
                    <a:pt x="113067" y="319322"/>
                    <a:pt x="123536" y="319322"/>
                  </a:cubicBezTo>
                  <a:cubicBezTo>
                    <a:pt x="132515" y="319322"/>
                    <a:pt x="141213" y="318484"/>
                    <a:pt x="149625" y="316794"/>
                  </a:cubicBezTo>
                  <a:cubicBezTo>
                    <a:pt x="158037" y="315118"/>
                    <a:pt x="166538" y="312781"/>
                    <a:pt x="175148" y="309776"/>
                  </a:cubicBezTo>
                  <a:lnTo>
                    <a:pt x="181320" y="373755"/>
                  </a:lnTo>
                  <a:cubicBezTo>
                    <a:pt x="170101" y="377883"/>
                    <a:pt x="157942" y="381427"/>
                    <a:pt x="144857" y="384426"/>
                  </a:cubicBezTo>
                  <a:cubicBezTo>
                    <a:pt x="131759" y="387410"/>
                    <a:pt x="116249" y="388916"/>
                    <a:pt x="98293" y="388916"/>
                  </a:cubicBezTo>
                  <a:cubicBezTo>
                    <a:pt x="72491" y="388916"/>
                    <a:pt x="52478" y="385066"/>
                    <a:pt x="38269" y="377407"/>
                  </a:cubicBezTo>
                  <a:cubicBezTo>
                    <a:pt x="24054" y="369741"/>
                    <a:pt x="13959" y="359260"/>
                    <a:pt x="7978" y="345979"/>
                  </a:cubicBezTo>
                  <a:cubicBezTo>
                    <a:pt x="1991" y="332705"/>
                    <a:pt x="-625" y="317448"/>
                    <a:pt x="125" y="300236"/>
                  </a:cubicBezTo>
                  <a:cubicBezTo>
                    <a:pt x="867" y="283037"/>
                    <a:pt x="3490" y="264890"/>
                    <a:pt x="7978" y="245811"/>
                  </a:cubicBezTo>
                  <a:lnTo>
                    <a:pt x="62955" y="13472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9E7EC426-81E9-DFED-0FBD-E5CB5991A9CB}"/>
                </a:ext>
              </a:extLst>
            </p:cNvPr>
            <p:cNvSpPr/>
            <p:nvPr/>
          </p:nvSpPr>
          <p:spPr>
            <a:xfrm>
              <a:off x="9516920" y="2351021"/>
              <a:ext cx="349488" cy="398449"/>
            </a:xfrm>
            <a:custGeom>
              <a:avLst/>
              <a:gdLst>
                <a:gd name="connsiteX0" fmla="*/ 141367 w 349488"/>
                <a:gd name="connsiteY0" fmla="*/ 157702 h 398449"/>
                <a:gd name="connsiteX1" fmla="*/ 196343 w 349488"/>
                <a:gd name="connsiteY1" fmla="*/ 157702 h 398449"/>
                <a:gd name="connsiteX2" fmla="*/ 246552 w 349488"/>
                <a:gd name="connsiteY2" fmla="*/ 143106 h 398449"/>
                <a:gd name="connsiteX3" fmla="*/ 263097 w 349488"/>
                <a:gd name="connsiteY3" fmla="*/ 108313 h 398449"/>
                <a:gd name="connsiteX4" fmla="*/ 258329 w 349488"/>
                <a:gd name="connsiteY4" fmla="*/ 90071 h 398449"/>
                <a:gd name="connsiteX5" fmla="*/ 245707 w 349488"/>
                <a:gd name="connsiteY5" fmla="*/ 78010 h 398449"/>
                <a:gd name="connsiteX6" fmla="*/ 227759 w 349488"/>
                <a:gd name="connsiteY6" fmla="*/ 71556 h 398449"/>
                <a:gd name="connsiteX7" fmla="*/ 207004 w 349488"/>
                <a:gd name="connsiteY7" fmla="*/ 69594 h 398449"/>
                <a:gd name="connsiteX8" fmla="*/ 181760 w 349488"/>
                <a:gd name="connsiteY8" fmla="*/ 70432 h 398449"/>
                <a:gd name="connsiteX9" fmla="*/ 161563 w 349488"/>
                <a:gd name="connsiteY9" fmla="*/ 72395 h 398449"/>
                <a:gd name="connsiteX10" fmla="*/ 141367 w 349488"/>
                <a:gd name="connsiteY10" fmla="*/ 157702 h 398449"/>
                <a:gd name="connsiteX11" fmla="*/ 125102 w 349488"/>
                <a:gd name="connsiteY11" fmla="*/ 223358 h 398449"/>
                <a:gd name="connsiteX12" fmla="*/ 100974 w 349488"/>
                <a:gd name="connsiteY12" fmla="*/ 324372 h 398449"/>
                <a:gd name="connsiteX13" fmla="*/ 123698 w 349488"/>
                <a:gd name="connsiteY13" fmla="*/ 326900 h 398449"/>
                <a:gd name="connsiteX14" fmla="*/ 149221 w 349488"/>
                <a:gd name="connsiteY14" fmla="*/ 327738 h 398449"/>
                <a:gd name="connsiteX15" fmla="*/ 182598 w 349488"/>
                <a:gd name="connsiteY15" fmla="*/ 325210 h 398449"/>
                <a:gd name="connsiteX16" fmla="*/ 212330 w 349488"/>
                <a:gd name="connsiteY16" fmla="*/ 315956 h 398449"/>
                <a:gd name="connsiteX17" fmla="*/ 233930 w 349488"/>
                <a:gd name="connsiteY17" fmla="*/ 297435 h 398449"/>
                <a:gd name="connsiteX18" fmla="*/ 242342 w 349488"/>
                <a:gd name="connsiteY18" fmla="*/ 267132 h 398449"/>
                <a:gd name="connsiteX19" fmla="*/ 239257 w 349488"/>
                <a:gd name="connsiteY19" fmla="*/ 251412 h 398449"/>
                <a:gd name="connsiteX20" fmla="*/ 229441 w 349488"/>
                <a:gd name="connsiteY20" fmla="*/ 237388 h 398449"/>
                <a:gd name="connsiteX21" fmla="*/ 211772 w 349488"/>
                <a:gd name="connsiteY21" fmla="*/ 227282 h 398449"/>
                <a:gd name="connsiteX22" fmla="*/ 185684 w 349488"/>
                <a:gd name="connsiteY22" fmla="*/ 223358 h 398449"/>
                <a:gd name="connsiteX23" fmla="*/ 125102 w 349488"/>
                <a:gd name="connsiteY23" fmla="*/ 223358 h 398449"/>
                <a:gd name="connsiteX24" fmla="*/ 132955 w 349488"/>
                <a:gd name="connsiteY24" fmla="*/ 398449 h 398449"/>
                <a:gd name="connsiteX25" fmla="*/ 63954 w 349488"/>
                <a:gd name="connsiteY25" fmla="*/ 395642 h 398449"/>
                <a:gd name="connsiteX26" fmla="*/ 0 w 349488"/>
                <a:gd name="connsiteY26" fmla="*/ 386667 h 398449"/>
                <a:gd name="connsiteX27" fmla="*/ 89763 w 349488"/>
                <a:gd name="connsiteY27" fmla="*/ 10665 h 398449"/>
                <a:gd name="connsiteX28" fmla="*/ 156796 w 349488"/>
                <a:gd name="connsiteY28" fmla="*/ 2256 h 398449"/>
                <a:gd name="connsiteX29" fmla="*/ 221029 w 349488"/>
                <a:gd name="connsiteY29" fmla="*/ 0 h 398449"/>
                <a:gd name="connsiteX30" fmla="*/ 279091 w 349488"/>
                <a:gd name="connsiteY30" fmla="*/ 7019 h 398449"/>
                <a:gd name="connsiteX31" fmla="*/ 318918 w 349488"/>
                <a:gd name="connsiteY31" fmla="*/ 25819 h 398449"/>
                <a:gd name="connsiteX32" fmla="*/ 341914 w 349488"/>
                <a:gd name="connsiteY32" fmla="*/ 53601 h 398449"/>
                <a:gd name="connsiteX33" fmla="*/ 349488 w 349488"/>
                <a:gd name="connsiteY33" fmla="*/ 87543 h 398449"/>
                <a:gd name="connsiteX34" fmla="*/ 346968 w 349488"/>
                <a:gd name="connsiteY34" fmla="*/ 113362 h 398449"/>
                <a:gd name="connsiteX35" fmla="*/ 336867 w 349488"/>
                <a:gd name="connsiteY35" fmla="*/ 140019 h 398449"/>
                <a:gd name="connsiteX36" fmla="*/ 316111 w 349488"/>
                <a:gd name="connsiteY36" fmla="*/ 164994 h 398449"/>
                <a:gd name="connsiteX37" fmla="*/ 281611 w 349488"/>
                <a:gd name="connsiteY37" fmla="*/ 186316 h 398449"/>
                <a:gd name="connsiteX38" fmla="*/ 318632 w 349488"/>
                <a:gd name="connsiteY38" fmla="*/ 216904 h 398449"/>
                <a:gd name="connsiteX39" fmla="*/ 330416 w 349488"/>
                <a:gd name="connsiteY39" fmla="*/ 259834 h 398449"/>
                <a:gd name="connsiteX40" fmla="*/ 319756 w 349488"/>
                <a:gd name="connsiteY40" fmla="*/ 311738 h 398449"/>
                <a:gd name="connsiteX41" fmla="*/ 285541 w 349488"/>
                <a:gd name="connsiteY41" fmla="*/ 356072 h 398449"/>
                <a:gd name="connsiteX42" fmla="*/ 224394 w 349488"/>
                <a:gd name="connsiteY42" fmla="*/ 386947 h 398449"/>
                <a:gd name="connsiteX43" fmla="*/ 132955 w 349488"/>
                <a:gd name="connsiteY43" fmla="*/ 398449 h 39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49488" h="398449">
                  <a:moveTo>
                    <a:pt x="141367" y="157702"/>
                  </a:moveTo>
                  <a:lnTo>
                    <a:pt x="196343" y="157702"/>
                  </a:lnTo>
                  <a:cubicBezTo>
                    <a:pt x="218781" y="157702"/>
                    <a:pt x="235517" y="152836"/>
                    <a:pt x="246552" y="143106"/>
                  </a:cubicBezTo>
                  <a:cubicBezTo>
                    <a:pt x="257580" y="133389"/>
                    <a:pt x="263097" y="121785"/>
                    <a:pt x="263097" y="108313"/>
                  </a:cubicBezTo>
                  <a:cubicBezTo>
                    <a:pt x="263097" y="101206"/>
                    <a:pt x="261503" y="95121"/>
                    <a:pt x="258329" y="90071"/>
                  </a:cubicBezTo>
                  <a:cubicBezTo>
                    <a:pt x="255148" y="85028"/>
                    <a:pt x="250938" y="81008"/>
                    <a:pt x="245707" y="78010"/>
                  </a:cubicBezTo>
                  <a:cubicBezTo>
                    <a:pt x="240469" y="75018"/>
                    <a:pt x="234488" y="72872"/>
                    <a:pt x="227759" y="71556"/>
                  </a:cubicBezTo>
                  <a:cubicBezTo>
                    <a:pt x="221029" y="70255"/>
                    <a:pt x="214101" y="69594"/>
                    <a:pt x="207004" y="69594"/>
                  </a:cubicBezTo>
                  <a:cubicBezTo>
                    <a:pt x="199150" y="69594"/>
                    <a:pt x="190738" y="69867"/>
                    <a:pt x="181760" y="70432"/>
                  </a:cubicBezTo>
                  <a:cubicBezTo>
                    <a:pt x="172782" y="70985"/>
                    <a:pt x="166053" y="71645"/>
                    <a:pt x="161563" y="72395"/>
                  </a:cubicBezTo>
                  <a:lnTo>
                    <a:pt x="141367" y="157702"/>
                  </a:lnTo>
                  <a:close/>
                  <a:moveTo>
                    <a:pt x="125102" y="223358"/>
                  </a:moveTo>
                  <a:lnTo>
                    <a:pt x="100974" y="324372"/>
                  </a:lnTo>
                  <a:cubicBezTo>
                    <a:pt x="106955" y="325497"/>
                    <a:pt x="114530" y="326334"/>
                    <a:pt x="123698" y="326900"/>
                  </a:cubicBezTo>
                  <a:cubicBezTo>
                    <a:pt x="132860" y="327458"/>
                    <a:pt x="141367" y="327738"/>
                    <a:pt x="149221" y="327738"/>
                  </a:cubicBezTo>
                  <a:cubicBezTo>
                    <a:pt x="160440" y="327738"/>
                    <a:pt x="171563" y="326900"/>
                    <a:pt x="182598" y="325210"/>
                  </a:cubicBezTo>
                  <a:cubicBezTo>
                    <a:pt x="193625" y="323534"/>
                    <a:pt x="203536" y="320447"/>
                    <a:pt x="212330" y="315956"/>
                  </a:cubicBezTo>
                  <a:cubicBezTo>
                    <a:pt x="221118" y="311459"/>
                    <a:pt x="228317" y="305285"/>
                    <a:pt x="233930" y="297435"/>
                  </a:cubicBezTo>
                  <a:cubicBezTo>
                    <a:pt x="239536" y="289578"/>
                    <a:pt x="242342" y="279472"/>
                    <a:pt x="242342" y="267132"/>
                  </a:cubicBezTo>
                  <a:cubicBezTo>
                    <a:pt x="242342" y="261898"/>
                    <a:pt x="241307" y="256652"/>
                    <a:pt x="239257" y="251412"/>
                  </a:cubicBezTo>
                  <a:cubicBezTo>
                    <a:pt x="237199" y="246178"/>
                    <a:pt x="233930" y="241510"/>
                    <a:pt x="229441" y="237388"/>
                  </a:cubicBezTo>
                  <a:cubicBezTo>
                    <a:pt x="224952" y="233273"/>
                    <a:pt x="219060" y="229905"/>
                    <a:pt x="211772" y="227282"/>
                  </a:cubicBezTo>
                  <a:cubicBezTo>
                    <a:pt x="204477" y="224665"/>
                    <a:pt x="195785" y="223358"/>
                    <a:pt x="185684" y="223358"/>
                  </a:cubicBezTo>
                  <a:lnTo>
                    <a:pt x="125102" y="223358"/>
                  </a:lnTo>
                  <a:close/>
                  <a:moveTo>
                    <a:pt x="132955" y="398449"/>
                  </a:moveTo>
                  <a:cubicBezTo>
                    <a:pt x="110518" y="398449"/>
                    <a:pt x="87515" y="397509"/>
                    <a:pt x="63954" y="395642"/>
                  </a:cubicBezTo>
                  <a:cubicBezTo>
                    <a:pt x="40393" y="393774"/>
                    <a:pt x="19079" y="390784"/>
                    <a:pt x="0" y="386667"/>
                  </a:cubicBezTo>
                  <a:lnTo>
                    <a:pt x="89763" y="10665"/>
                  </a:lnTo>
                  <a:cubicBezTo>
                    <a:pt x="111076" y="6549"/>
                    <a:pt x="133418" y="3748"/>
                    <a:pt x="156796" y="2256"/>
                  </a:cubicBezTo>
                  <a:cubicBezTo>
                    <a:pt x="180166" y="756"/>
                    <a:pt x="201575" y="0"/>
                    <a:pt x="221029" y="0"/>
                  </a:cubicBezTo>
                  <a:cubicBezTo>
                    <a:pt x="243466" y="0"/>
                    <a:pt x="262818" y="2344"/>
                    <a:pt x="279091" y="7019"/>
                  </a:cubicBezTo>
                  <a:cubicBezTo>
                    <a:pt x="295357" y="11700"/>
                    <a:pt x="308626" y="17963"/>
                    <a:pt x="318918" y="25819"/>
                  </a:cubicBezTo>
                  <a:cubicBezTo>
                    <a:pt x="329196" y="33670"/>
                    <a:pt x="336867" y="42937"/>
                    <a:pt x="341914" y="53601"/>
                  </a:cubicBezTo>
                  <a:cubicBezTo>
                    <a:pt x="346968" y="64258"/>
                    <a:pt x="349488" y="75577"/>
                    <a:pt x="349488" y="87543"/>
                  </a:cubicBezTo>
                  <a:cubicBezTo>
                    <a:pt x="349488" y="95781"/>
                    <a:pt x="348644" y="104387"/>
                    <a:pt x="346968" y="113362"/>
                  </a:cubicBezTo>
                  <a:cubicBezTo>
                    <a:pt x="345279" y="122350"/>
                    <a:pt x="341914" y="131236"/>
                    <a:pt x="336867" y="140019"/>
                  </a:cubicBezTo>
                  <a:cubicBezTo>
                    <a:pt x="331819" y="148816"/>
                    <a:pt x="324892" y="157137"/>
                    <a:pt x="316111" y="164994"/>
                  </a:cubicBezTo>
                  <a:cubicBezTo>
                    <a:pt x="307318" y="172850"/>
                    <a:pt x="295820" y="179964"/>
                    <a:pt x="281611" y="186316"/>
                  </a:cubicBezTo>
                  <a:cubicBezTo>
                    <a:pt x="298442" y="193811"/>
                    <a:pt x="310778" y="203998"/>
                    <a:pt x="318632" y="216904"/>
                  </a:cubicBezTo>
                  <a:cubicBezTo>
                    <a:pt x="326486" y="229811"/>
                    <a:pt x="330416" y="244120"/>
                    <a:pt x="330416" y="259834"/>
                  </a:cubicBezTo>
                  <a:cubicBezTo>
                    <a:pt x="330416" y="277796"/>
                    <a:pt x="326860" y="295098"/>
                    <a:pt x="319756" y="311738"/>
                  </a:cubicBezTo>
                  <a:cubicBezTo>
                    <a:pt x="312652" y="328399"/>
                    <a:pt x="301242" y="343179"/>
                    <a:pt x="285541" y="356072"/>
                  </a:cubicBezTo>
                  <a:cubicBezTo>
                    <a:pt x="269827" y="368991"/>
                    <a:pt x="249440" y="379281"/>
                    <a:pt x="224394" y="386947"/>
                  </a:cubicBezTo>
                  <a:cubicBezTo>
                    <a:pt x="199334" y="394613"/>
                    <a:pt x="168852" y="398449"/>
                    <a:pt x="132955" y="398449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56111F0C-671D-096D-431A-BE39867AF5B4}"/>
                </a:ext>
              </a:extLst>
            </p:cNvPr>
            <p:cNvSpPr/>
            <p:nvPr/>
          </p:nvSpPr>
          <p:spPr>
            <a:xfrm>
              <a:off x="9860811" y="2314548"/>
              <a:ext cx="181194" cy="429870"/>
            </a:xfrm>
            <a:custGeom>
              <a:avLst/>
              <a:gdLst>
                <a:gd name="connsiteX0" fmla="*/ 123412 w 181194"/>
                <a:gd name="connsiteY0" fmla="*/ 98772 h 429870"/>
                <a:gd name="connsiteX1" fmla="*/ 91997 w 181194"/>
                <a:gd name="connsiteY1" fmla="*/ 88394 h 429870"/>
                <a:gd name="connsiteX2" fmla="*/ 77972 w 181194"/>
                <a:gd name="connsiteY2" fmla="*/ 56675 h 429870"/>
                <a:gd name="connsiteX3" fmla="*/ 82740 w 181194"/>
                <a:gd name="connsiteY3" fmla="*/ 34515 h 429870"/>
                <a:gd name="connsiteX4" fmla="*/ 95362 w 181194"/>
                <a:gd name="connsiteY4" fmla="*/ 16559 h 429870"/>
                <a:gd name="connsiteX5" fmla="*/ 113596 w 181194"/>
                <a:gd name="connsiteY5" fmla="*/ 4498 h 429870"/>
                <a:gd name="connsiteX6" fmla="*/ 135755 w 181194"/>
                <a:gd name="connsiteY6" fmla="*/ 0 h 429870"/>
                <a:gd name="connsiteX7" fmla="*/ 167170 w 181194"/>
                <a:gd name="connsiteY7" fmla="*/ 10385 h 429870"/>
                <a:gd name="connsiteX8" fmla="*/ 181194 w 181194"/>
                <a:gd name="connsiteY8" fmla="*/ 42092 h 429870"/>
                <a:gd name="connsiteX9" fmla="*/ 176420 w 181194"/>
                <a:gd name="connsiteY9" fmla="*/ 64258 h 429870"/>
                <a:gd name="connsiteX10" fmla="*/ 163805 w 181194"/>
                <a:gd name="connsiteY10" fmla="*/ 82221 h 429870"/>
                <a:gd name="connsiteX11" fmla="*/ 145571 w 181194"/>
                <a:gd name="connsiteY11" fmla="*/ 94283 h 429870"/>
                <a:gd name="connsiteX12" fmla="*/ 123412 w 181194"/>
                <a:gd name="connsiteY12" fmla="*/ 98772 h 429870"/>
                <a:gd name="connsiteX13" fmla="*/ 83027 w 181194"/>
                <a:gd name="connsiteY13" fmla="*/ 429871 h 429870"/>
                <a:gd name="connsiteX14" fmla="*/ 0 w 181194"/>
                <a:gd name="connsiteY14" fmla="*/ 429871 h 429870"/>
                <a:gd name="connsiteX15" fmla="*/ 70118 w 181194"/>
                <a:gd name="connsiteY15" fmla="*/ 134691 h 429870"/>
                <a:gd name="connsiteX16" fmla="*/ 153703 w 181194"/>
                <a:gd name="connsiteY16" fmla="*/ 134691 h 429870"/>
                <a:gd name="connsiteX17" fmla="*/ 83027 w 181194"/>
                <a:gd name="connsiteY17" fmla="*/ 429871 h 4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1194" h="429870">
                  <a:moveTo>
                    <a:pt x="123412" y="98772"/>
                  </a:moveTo>
                  <a:cubicBezTo>
                    <a:pt x="111812" y="98772"/>
                    <a:pt x="101343" y="95311"/>
                    <a:pt x="91997" y="88394"/>
                  </a:cubicBezTo>
                  <a:cubicBezTo>
                    <a:pt x="82645" y="81471"/>
                    <a:pt x="77972" y="70909"/>
                    <a:pt x="77972" y="56675"/>
                  </a:cubicBezTo>
                  <a:cubicBezTo>
                    <a:pt x="77972" y="48825"/>
                    <a:pt x="79559" y="41438"/>
                    <a:pt x="82740" y="34515"/>
                  </a:cubicBezTo>
                  <a:cubicBezTo>
                    <a:pt x="85914" y="27598"/>
                    <a:pt x="90118" y="21609"/>
                    <a:pt x="95362" y="16559"/>
                  </a:cubicBezTo>
                  <a:cubicBezTo>
                    <a:pt x="100594" y="11503"/>
                    <a:pt x="106670" y="7490"/>
                    <a:pt x="113596" y="4498"/>
                  </a:cubicBezTo>
                  <a:cubicBezTo>
                    <a:pt x="120511" y="1499"/>
                    <a:pt x="127901" y="0"/>
                    <a:pt x="135755" y="0"/>
                  </a:cubicBezTo>
                  <a:cubicBezTo>
                    <a:pt x="147341" y="0"/>
                    <a:pt x="157818" y="3462"/>
                    <a:pt x="167170" y="10385"/>
                  </a:cubicBezTo>
                  <a:cubicBezTo>
                    <a:pt x="176508" y="17316"/>
                    <a:pt x="181194" y="27885"/>
                    <a:pt x="181194" y="42092"/>
                  </a:cubicBezTo>
                  <a:cubicBezTo>
                    <a:pt x="181194" y="49949"/>
                    <a:pt x="179594" y="57335"/>
                    <a:pt x="176420" y="64258"/>
                  </a:cubicBezTo>
                  <a:cubicBezTo>
                    <a:pt x="173238" y="71182"/>
                    <a:pt x="169036" y="77165"/>
                    <a:pt x="163805" y="82221"/>
                  </a:cubicBezTo>
                  <a:cubicBezTo>
                    <a:pt x="158560" y="87271"/>
                    <a:pt x="152484" y="91291"/>
                    <a:pt x="145571" y="94283"/>
                  </a:cubicBezTo>
                  <a:cubicBezTo>
                    <a:pt x="138643" y="97274"/>
                    <a:pt x="131266" y="98772"/>
                    <a:pt x="123412" y="98772"/>
                  </a:cubicBezTo>
                  <a:moveTo>
                    <a:pt x="83027" y="429871"/>
                  </a:moveTo>
                  <a:lnTo>
                    <a:pt x="0" y="429871"/>
                  </a:lnTo>
                  <a:lnTo>
                    <a:pt x="70118" y="134691"/>
                  </a:lnTo>
                  <a:lnTo>
                    <a:pt x="153703" y="134691"/>
                  </a:lnTo>
                  <a:lnTo>
                    <a:pt x="83027" y="429871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EA57E791-688C-60B2-109F-DC47F79F2123}"/>
                </a:ext>
              </a:extLst>
            </p:cNvPr>
            <p:cNvSpPr/>
            <p:nvPr/>
          </p:nvSpPr>
          <p:spPr>
            <a:xfrm>
              <a:off x="10025591" y="2362255"/>
              <a:ext cx="221712" cy="388908"/>
            </a:xfrm>
            <a:custGeom>
              <a:avLst/>
              <a:gdLst>
                <a:gd name="connsiteX0" fmla="*/ 62955 w 221712"/>
                <a:gd name="connsiteY0" fmla="*/ 13472 h 388908"/>
                <a:gd name="connsiteX1" fmla="*/ 149904 w 221712"/>
                <a:gd name="connsiteY1" fmla="*/ 0 h 388908"/>
                <a:gd name="connsiteX2" fmla="*/ 128591 w 221712"/>
                <a:gd name="connsiteY2" fmla="*/ 86984 h 388908"/>
                <a:gd name="connsiteX3" fmla="*/ 221712 w 221712"/>
                <a:gd name="connsiteY3" fmla="*/ 86984 h 388908"/>
                <a:gd name="connsiteX4" fmla="*/ 204881 w 221712"/>
                <a:gd name="connsiteY4" fmla="*/ 155452 h 388908"/>
                <a:gd name="connsiteX5" fmla="*/ 112326 w 221712"/>
                <a:gd name="connsiteY5" fmla="*/ 155452 h 388908"/>
                <a:gd name="connsiteX6" fmla="*/ 87640 w 221712"/>
                <a:gd name="connsiteY6" fmla="*/ 258709 h 388908"/>
                <a:gd name="connsiteX7" fmla="*/ 83431 w 221712"/>
                <a:gd name="connsiteY7" fmla="*/ 282838 h 388908"/>
                <a:gd name="connsiteX8" fmla="*/ 86237 w 221712"/>
                <a:gd name="connsiteY8" fmla="*/ 302205 h 388908"/>
                <a:gd name="connsiteX9" fmla="*/ 98859 w 221712"/>
                <a:gd name="connsiteY9" fmla="*/ 314832 h 388908"/>
                <a:gd name="connsiteX10" fmla="*/ 123538 w 221712"/>
                <a:gd name="connsiteY10" fmla="*/ 319321 h 388908"/>
                <a:gd name="connsiteX11" fmla="*/ 149626 w 221712"/>
                <a:gd name="connsiteY11" fmla="*/ 316793 h 388908"/>
                <a:gd name="connsiteX12" fmla="*/ 175148 w 221712"/>
                <a:gd name="connsiteY12" fmla="*/ 309775 h 388908"/>
                <a:gd name="connsiteX13" fmla="*/ 181320 w 221712"/>
                <a:gd name="connsiteY13" fmla="*/ 373747 h 388908"/>
                <a:gd name="connsiteX14" fmla="*/ 144857 w 221712"/>
                <a:gd name="connsiteY14" fmla="*/ 384418 h 388908"/>
                <a:gd name="connsiteX15" fmla="*/ 98300 w 221712"/>
                <a:gd name="connsiteY15" fmla="*/ 388909 h 388908"/>
                <a:gd name="connsiteX16" fmla="*/ 38276 w 221712"/>
                <a:gd name="connsiteY16" fmla="*/ 377400 h 388908"/>
                <a:gd name="connsiteX17" fmla="*/ 7978 w 221712"/>
                <a:gd name="connsiteY17" fmla="*/ 345972 h 388908"/>
                <a:gd name="connsiteX18" fmla="*/ 125 w 221712"/>
                <a:gd name="connsiteY18" fmla="*/ 300235 h 388908"/>
                <a:gd name="connsiteX19" fmla="*/ 7978 w 221712"/>
                <a:gd name="connsiteY19" fmla="*/ 245803 h 388908"/>
                <a:gd name="connsiteX20" fmla="*/ 62955 w 221712"/>
                <a:gd name="connsiteY20" fmla="*/ 13472 h 38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712" h="388908">
                  <a:moveTo>
                    <a:pt x="62955" y="13472"/>
                  </a:moveTo>
                  <a:lnTo>
                    <a:pt x="149904" y="0"/>
                  </a:lnTo>
                  <a:lnTo>
                    <a:pt x="128591" y="86984"/>
                  </a:lnTo>
                  <a:lnTo>
                    <a:pt x="221712" y="86984"/>
                  </a:lnTo>
                  <a:lnTo>
                    <a:pt x="204881" y="155452"/>
                  </a:lnTo>
                  <a:lnTo>
                    <a:pt x="112326" y="155452"/>
                  </a:lnTo>
                  <a:lnTo>
                    <a:pt x="87640" y="258709"/>
                  </a:lnTo>
                  <a:cubicBezTo>
                    <a:pt x="85393" y="267315"/>
                    <a:pt x="83989" y="275363"/>
                    <a:pt x="83431" y="282838"/>
                  </a:cubicBezTo>
                  <a:cubicBezTo>
                    <a:pt x="82873" y="290327"/>
                    <a:pt x="83799" y="296780"/>
                    <a:pt x="86237" y="302205"/>
                  </a:cubicBezTo>
                  <a:cubicBezTo>
                    <a:pt x="88662" y="307636"/>
                    <a:pt x="92871" y="311840"/>
                    <a:pt x="98859" y="314832"/>
                  </a:cubicBezTo>
                  <a:cubicBezTo>
                    <a:pt x="104833" y="317829"/>
                    <a:pt x="113068" y="319321"/>
                    <a:pt x="123538" y="319321"/>
                  </a:cubicBezTo>
                  <a:cubicBezTo>
                    <a:pt x="132515" y="319321"/>
                    <a:pt x="141213" y="318483"/>
                    <a:pt x="149626" y="316793"/>
                  </a:cubicBezTo>
                  <a:cubicBezTo>
                    <a:pt x="158038" y="315110"/>
                    <a:pt x="166545" y="312780"/>
                    <a:pt x="175148" y="309775"/>
                  </a:cubicBezTo>
                  <a:lnTo>
                    <a:pt x="181320" y="373747"/>
                  </a:lnTo>
                  <a:cubicBezTo>
                    <a:pt x="170101" y="377876"/>
                    <a:pt x="157942" y="381426"/>
                    <a:pt x="144857" y="384418"/>
                  </a:cubicBezTo>
                  <a:cubicBezTo>
                    <a:pt x="131766" y="387403"/>
                    <a:pt x="116249" y="388909"/>
                    <a:pt x="98300" y="388909"/>
                  </a:cubicBezTo>
                  <a:cubicBezTo>
                    <a:pt x="72491" y="388909"/>
                    <a:pt x="52479" y="385059"/>
                    <a:pt x="38276" y="377400"/>
                  </a:cubicBezTo>
                  <a:cubicBezTo>
                    <a:pt x="24054" y="369733"/>
                    <a:pt x="13959" y="359260"/>
                    <a:pt x="7978" y="345972"/>
                  </a:cubicBezTo>
                  <a:cubicBezTo>
                    <a:pt x="1991" y="332698"/>
                    <a:pt x="-625" y="317441"/>
                    <a:pt x="125" y="300235"/>
                  </a:cubicBezTo>
                  <a:cubicBezTo>
                    <a:pt x="874" y="283035"/>
                    <a:pt x="3497" y="264890"/>
                    <a:pt x="7978" y="245803"/>
                  </a:cubicBezTo>
                  <a:lnTo>
                    <a:pt x="62955" y="13472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0402D162-21BD-2D0A-E965-B3CE571ADCDD}"/>
                </a:ext>
              </a:extLst>
            </p:cNvPr>
            <p:cNvSpPr/>
            <p:nvPr/>
          </p:nvSpPr>
          <p:spPr>
            <a:xfrm>
              <a:off x="10238934" y="2441379"/>
              <a:ext cx="258049" cy="310899"/>
            </a:xfrm>
            <a:custGeom>
              <a:avLst/>
              <a:gdLst>
                <a:gd name="connsiteX0" fmla="*/ 0 w 258049"/>
                <a:gd name="connsiteY0" fmla="*/ 185191 h 310899"/>
                <a:gd name="connsiteX1" fmla="*/ 12342 w 258049"/>
                <a:gd name="connsiteY1" fmla="*/ 113355 h 310899"/>
                <a:gd name="connsiteX2" fmla="*/ 47680 w 258049"/>
                <a:gd name="connsiteY2" fmla="*/ 54433 h 310899"/>
                <a:gd name="connsiteX3" fmla="*/ 103502 w 258049"/>
                <a:gd name="connsiteY3" fmla="*/ 14590 h 310899"/>
                <a:gd name="connsiteX4" fmla="*/ 176705 w 258049"/>
                <a:gd name="connsiteY4" fmla="*/ 0 h 310899"/>
                <a:gd name="connsiteX5" fmla="*/ 221867 w 258049"/>
                <a:gd name="connsiteY5" fmla="*/ 4763 h 310899"/>
                <a:gd name="connsiteX6" fmla="*/ 258050 w 258049"/>
                <a:gd name="connsiteY6" fmla="*/ 17396 h 310899"/>
                <a:gd name="connsiteX7" fmla="*/ 229434 w 258049"/>
                <a:gd name="connsiteY7" fmla="*/ 82493 h 310899"/>
                <a:gd name="connsiteX8" fmla="*/ 206158 w 258049"/>
                <a:gd name="connsiteY8" fmla="*/ 74357 h 310899"/>
                <a:gd name="connsiteX9" fmla="*/ 176705 w 258049"/>
                <a:gd name="connsiteY9" fmla="*/ 70705 h 310899"/>
                <a:gd name="connsiteX10" fmla="*/ 110511 w 258049"/>
                <a:gd name="connsiteY10" fmla="*/ 99045 h 310899"/>
                <a:gd name="connsiteX11" fmla="*/ 86391 w 258049"/>
                <a:gd name="connsiteY11" fmla="*/ 176216 h 310899"/>
                <a:gd name="connsiteX12" fmla="*/ 98734 w 258049"/>
                <a:gd name="connsiteY12" fmla="*/ 222513 h 310899"/>
                <a:gd name="connsiteX13" fmla="*/ 144174 w 258049"/>
                <a:gd name="connsiteY13" fmla="*/ 240189 h 310899"/>
                <a:gd name="connsiteX14" fmla="*/ 175582 w 258049"/>
                <a:gd name="connsiteY14" fmla="*/ 236815 h 310899"/>
                <a:gd name="connsiteX15" fmla="*/ 202508 w 258049"/>
                <a:gd name="connsiteY15" fmla="*/ 228400 h 310899"/>
                <a:gd name="connsiteX16" fmla="*/ 208680 w 258049"/>
                <a:gd name="connsiteY16" fmla="*/ 295186 h 310899"/>
                <a:gd name="connsiteX17" fmla="*/ 174185 w 258049"/>
                <a:gd name="connsiteY17" fmla="*/ 306123 h 310899"/>
                <a:gd name="connsiteX18" fmla="*/ 128460 w 258049"/>
                <a:gd name="connsiteY18" fmla="*/ 310900 h 310899"/>
                <a:gd name="connsiteX19" fmla="*/ 69559 w 258049"/>
                <a:gd name="connsiteY19" fmla="*/ 300801 h 310899"/>
                <a:gd name="connsiteX20" fmla="*/ 29732 w 258049"/>
                <a:gd name="connsiteY20" fmla="*/ 273585 h 310899"/>
                <a:gd name="connsiteX21" fmla="*/ 7015 w 258049"/>
                <a:gd name="connsiteY21" fmla="*/ 233456 h 310899"/>
                <a:gd name="connsiteX22" fmla="*/ 0 w 258049"/>
                <a:gd name="connsiteY22" fmla="*/ 185191 h 31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8049" h="310899">
                  <a:moveTo>
                    <a:pt x="0" y="185191"/>
                  </a:moveTo>
                  <a:cubicBezTo>
                    <a:pt x="0" y="159753"/>
                    <a:pt x="4114" y="135808"/>
                    <a:pt x="12342" y="113355"/>
                  </a:cubicBezTo>
                  <a:cubicBezTo>
                    <a:pt x="20564" y="90909"/>
                    <a:pt x="32348" y="71271"/>
                    <a:pt x="47680" y="54433"/>
                  </a:cubicBezTo>
                  <a:cubicBezTo>
                    <a:pt x="63013" y="37594"/>
                    <a:pt x="81623" y="24320"/>
                    <a:pt x="103502" y="14590"/>
                  </a:cubicBezTo>
                  <a:cubicBezTo>
                    <a:pt x="125373" y="4866"/>
                    <a:pt x="149779" y="0"/>
                    <a:pt x="176705" y="0"/>
                  </a:cubicBezTo>
                  <a:cubicBezTo>
                    <a:pt x="193537" y="0"/>
                    <a:pt x="208584" y="1594"/>
                    <a:pt x="221867" y="4763"/>
                  </a:cubicBezTo>
                  <a:cubicBezTo>
                    <a:pt x="235135" y="7946"/>
                    <a:pt x="247199" y="12156"/>
                    <a:pt x="258050" y="17396"/>
                  </a:cubicBezTo>
                  <a:lnTo>
                    <a:pt x="229434" y="82493"/>
                  </a:lnTo>
                  <a:cubicBezTo>
                    <a:pt x="221948" y="79502"/>
                    <a:pt x="214196" y="76796"/>
                    <a:pt x="206158" y="74357"/>
                  </a:cubicBezTo>
                  <a:cubicBezTo>
                    <a:pt x="198108" y="71931"/>
                    <a:pt x="188293" y="70705"/>
                    <a:pt x="176705" y="70705"/>
                  </a:cubicBezTo>
                  <a:cubicBezTo>
                    <a:pt x="148656" y="70705"/>
                    <a:pt x="126586" y="80163"/>
                    <a:pt x="110511" y="99045"/>
                  </a:cubicBezTo>
                  <a:cubicBezTo>
                    <a:pt x="94428" y="117948"/>
                    <a:pt x="86391" y="143658"/>
                    <a:pt x="86391" y="176216"/>
                  </a:cubicBezTo>
                  <a:cubicBezTo>
                    <a:pt x="86391" y="195289"/>
                    <a:pt x="90498" y="210724"/>
                    <a:pt x="98734" y="222513"/>
                  </a:cubicBezTo>
                  <a:cubicBezTo>
                    <a:pt x="106948" y="234294"/>
                    <a:pt x="122097" y="240189"/>
                    <a:pt x="144174" y="240189"/>
                  </a:cubicBezTo>
                  <a:cubicBezTo>
                    <a:pt x="155011" y="240189"/>
                    <a:pt x="165487" y="239064"/>
                    <a:pt x="175582" y="236815"/>
                  </a:cubicBezTo>
                  <a:cubicBezTo>
                    <a:pt x="185684" y="234573"/>
                    <a:pt x="194661" y="231773"/>
                    <a:pt x="202508" y="228400"/>
                  </a:cubicBezTo>
                  <a:lnTo>
                    <a:pt x="208680" y="295186"/>
                  </a:lnTo>
                  <a:cubicBezTo>
                    <a:pt x="198203" y="299302"/>
                    <a:pt x="186705" y="302954"/>
                    <a:pt x="174185" y="306123"/>
                  </a:cubicBezTo>
                  <a:cubicBezTo>
                    <a:pt x="161645" y="309306"/>
                    <a:pt x="146414" y="310900"/>
                    <a:pt x="128460" y="310900"/>
                  </a:cubicBezTo>
                  <a:cubicBezTo>
                    <a:pt x="105273" y="310900"/>
                    <a:pt x="85635" y="307534"/>
                    <a:pt x="69559" y="300801"/>
                  </a:cubicBezTo>
                  <a:cubicBezTo>
                    <a:pt x="53478" y="294069"/>
                    <a:pt x="40195" y="284992"/>
                    <a:pt x="29732" y="273585"/>
                  </a:cubicBezTo>
                  <a:cubicBezTo>
                    <a:pt x="19256" y="262171"/>
                    <a:pt x="11688" y="248801"/>
                    <a:pt x="7015" y="233456"/>
                  </a:cubicBezTo>
                  <a:cubicBezTo>
                    <a:pt x="2329" y="218117"/>
                    <a:pt x="0" y="202029"/>
                    <a:pt x="0" y="185191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1BBAE71F-5CD1-4EBF-C2B1-0F7985D15EA9}"/>
                </a:ext>
              </a:extLst>
            </p:cNvPr>
            <p:cNvSpPr/>
            <p:nvPr/>
          </p:nvSpPr>
          <p:spPr>
            <a:xfrm>
              <a:off x="10482934" y="2441387"/>
              <a:ext cx="282728" cy="310899"/>
            </a:xfrm>
            <a:custGeom>
              <a:avLst/>
              <a:gdLst>
                <a:gd name="connsiteX0" fmla="*/ 158192 w 282728"/>
                <a:gd name="connsiteY0" fmla="*/ 70704 h 310899"/>
                <a:gd name="connsiteX1" fmla="*/ 125660 w 282728"/>
                <a:gd name="connsiteY1" fmla="*/ 81362 h 310899"/>
                <a:gd name="connsiteX2" fmla="*/ 102099 w 282728"/>
                <a:gd name="connsiteY2" fmla="*/ 108306 h 310899"/>
                <a:gd name="connsiteX3" fmla="*/ 87795 w 282728"/>
                <a:gd name="connsiteY3" fmla="*/ 143943 h 310899"/>
                <a:gd name="connsiteX4" fmla="*/ 83026 w 282728"/>
                <a:gd name="connsiteY4" fmla="*/ 180700 h 310899"/>
                <a:gd name="connsiteX5" fmla="*/ 91997 w 282728"/>
                <a:gd name="connsiteY5" fmla="*/ 224754 h 310899"/>
                <a:gd name="connsiteX6" fmla="*/ 124536 w 282728"/>
                <a:gd name="connsiteY6" fmla="*/ 240188 h 310899"/>
                <a:gd name="connsiteX7" fmla="*/ 157075 w 282728"/>
                <a:gd name="connsiteY7" fmla="*/ 229524 h 310899"/>
                <a:gd name="connsiteX8" fmla="*/ 180629 w 282728"/>
                <a:gd name="connsiteY8" fmla="*/ 202587 h 310899"/>
                <a:gd name="connsiteX9" fmla="*/ 194933 w 282728"/>
                <a:gd name="connsiteY9" fmla="*/ 166948 h 310899"/>
                <a:gd name="connsiteX10" fmla="*/ 199701 w 282728"/>
                <a:gd name="connsiteY10" fmla="*/ 130186 h 310899"/>
                <a:gd name="connsiteX11" fmla="*/ 190731 w 282728"/>
                <a:gd name="connsiteY11" fmla="*/ 86139 h 310899"/>
                <a:gd name="connsiteX12" fmla="*/ 158192 w 282728"/>
                <a:gd name="connsiteY12" fmla="*/ 70704 h 310899"/>
                <a:gd name="connsiteX13" fmla="*/ 116683 w 282728"/>
                <a:gd name="connsiteY13" fmla="*/ 310900 h 310899"/>
                <a:gd name="connsiteX14" fmla="*/ 65071 w 282728"/>
                <a:gd name="connsiteY14" fmla="*/ 301918 h 310899"/>
                <a:gd name="connsiteX15" fmla="*/ 28888 w 282728"/>
                <a:gd name="connsiteY15" fmla="*/ 276672 h 310899"/>
                <a:gd name="connsiteX16" fmla="*/ 7288 w 282728"/>
                <a:gd name="connsiteY16" fmla="*/ 238226 h 310899"/>
                <a:gd name="connsiteX17" fmla="*/ 0 w 282728"/>
                <a:gd name="connsiteY17" fmla="*/ 189115 h 310899"/>
                <a:gd name="connsiteX18" fmla="*/ 10939 w 282728"/>
                <a:gd name="connsiteY18" fmla="*/ 121770 h 310899"/>
                <a:gd name="connsiteX19" fmla="*/ 43192 w 282728"/>
                <a:gd name="connsiteY19" fmla="*/ 61171 h 310899"/>
                <a:gd name="connsiteX20" fmla="*/ 95362 w 282728"/>
                <a:gd name="connsiteY20" fmla="*/ 17111 h 310899"/>
                <a:gd name="connsiteX21" fmla="*/ 166045 w 282728"/>
                <a:gd name="connsiteY21" fmla="*/ 0 h 310899"/>
                <a:gd name="connsiteX22" fmla="*/ 217378 w 282728"/>
                <a:gd name="connsiteY22" fmla="*/ 8974 h 310899"/>
                <a:gd name="connsiteX23" fmla="*/ 253840 w 282728"/>
                <a:gd name="connsiteY23" fmla="*/ 34227 h 310899"/>
                <a:gd name="connsiteX24" fmla="*/ 275439 w 282728"/>
                <a:gd name="connsiteY24" fmla="*/ 72667 h 310899"/>
                <a:gd name="connsiteX25" fmla="*/ 282728 w 282728"/>
                <a:gd name="connsiteY25" fmla="*/ 121770 h 310899"/>
                <a:gd name="connsiteX26" fmla="*/ 272074 w 282728"/>
                <a:gd name="connsiteY26" fmla="*/ 189115 h 310899"/>
                <a:gd name="connsiteX27" fmla="*/ 240653 w 282728"/>
                <a:gd name="connsiteY27" fmla="*/ 249728 h 310899"/>
                <a:gd name="connsiteX28" fmla="*/ 188769 w 282728"/>
                <a:gd name="connsiteY28" fmla="*/ 293775 h 310899"/>
                <a:gd name="connsiteX29" fmla="*/ 116683 w 282728"/>
                <a:gd name="connsiteY29" fmla="*/ 310900 h 31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82728" h="310899">
                  <a:moveTo>
                    <a:pt x="158192" y="70704"/>
                  </a:moveTo>
                  <a:cubicBezTo>
                    <a:pt x="145849" y="70704"/>
                    <a:pt x="134999" y="74261"/>
                    <a:pt x="125660" y="81362"/>
                  </a:cubicBezTo>
                  <a:cubicBezTo>
                    <a:pt x="116307" y="88476"/>
                    <a:pt x="108454" y="97457"/>
                    <a:pt x="102099" y="108306"/>
                  </a:cubicBezTo>
                  <a:cubicBezTo>
                    <a:pt x="95736" y="119160"/>
                    <a:pt x="90962" y="131038"/>
                    <a:pt x="87795" y="143943"/>
                  </a:cubicBezTo>
                  <a:cubicBezTo>
                    <a:pt x="84613" y="156850"/>
                    <a:pt x="83026" y="169109"/>
                    <a:pt x="83026" y="180700"/>
                  </a:cubicBezTo>
                  <a:cubicBezTo>
                    <a:pt x="83026" y="199779"/>
                    <a:pt x="86016" y="214465"/>
                    <a:pt x="91997" y="224754"/>
                  </a:cubicBezTo>
                  <a:cubicBezTo>
                    <a:pt x="97978" y="235043"/>
                    <a:pt x="108828" y="240188"/>
                    <a:pt x="124536" y="240188"/>
                  </a:cubicBezTo>
                  <a:cubicBezTo>
                    <a:pt x="136879" y="240188"/>
                    <a:pt x="147715" y="236638"/>
                    <a:pt x="157075" y="229524"/>
                  </a:cubicBezTo>
                  <a:cubicBezTo>
                    <a:pt x="166414" y="222423"/>
                    <a:pt x="174267" y="213442"/>
                    <a:pt x="180629" y="202587"/>
                  </a:cubicBezTo>
                  <a:cubicBezTo>
                    <a:pt x="186992" y="191738"/>
                    <a:pt x="191752" y="179862"/>
                    <a:pt x="194933" y="166948"/>
                  </a:cubicBezTo>
                  <a:cubicBezTo>
                    <a:pt x="198108" y="154042"/>
                    <a:pt x="199701" y="141797"/>
                    <a:pt x="199701" y="130186"/>
                  </a:cubicBezTo>
                  <a:cubicBezTo>
                    <a:pt x="199701" y="111112"/>
                    <a:pt x="196712" y="96435"/>
                    <a:pt x="190731" y="86139"/>
                  </a:cubicBezTo>
                  <a:cubicBezTo>
                    <a:pt x="184743" y="75855"/>
                    <a:pt x="173899" y="70704"/>
                    <a:pt x="158192" y="70704"/>
                  </a:cubicBezTo>
                  <a:moveTo>
                    <a:pt x="116683" y="310900"/>
                  </a:moveTo>
                  <a:cubicBezTo>
                    <a:pt x="96854" y="310900"/>
                    <a:pt x="79655" y="307901"/>
                    <a:pt x="65071" y="301918"/>
                  </a:cubicBezTo>
                  <a:cubicBezTo>
                    <a:pt x="50487" y="295936"/>
                    <a:pt x="38424" y="287519"/>
                    <a:pt x="28888" y="276672"/>
                  </a:cubicBezTo>
                  <a:cubicBezTo>
                    <a:pt x="19352" y="265823"/>
                    <a:pt x="12145" y="253012"/>
                    <a:pt x="7288" y="238226"/>
                  </a:cubicBezTo>
                  <a:cubicBezTo>
                    <a:pt x="2425" y="223453"/>
                    <a:pt x="0" y="207078"/>
                    <a:pt x="0" y="189115"/>
                  </a:cubicBezTo>
                  <a:cubicBezTo>
                    <a:pt x="0" y="166670"/>
                    <a:pt x="3644" y="144223"/>
                    <a:pt x="10939" y="121770"/>
                  </a:cubicBezTo>
                  <a:cubicBezTo>
                    <a:pt x="18234" y="99331"/>
                    <a:pt x="28976" y="79119"/>
                    <a:pt x="43192" y="61171"/>
                  </a:cubicBezTo>
                  <a:cubicBezTo>
                    <a:pt x="57401" y="43209"/>
                    <a:pt x="74791" y="28531"/>
                    <a:pt x="95362" y="17111"/>
                  </a:cubicBezTo>
                  <a:cubicBezTo>
                    <a:pt x="115927" y="5710"/>
                    <a:pt x="139488" y="0"/>
                    <a:pt x="166045" y="0"/>
                  </a:cubicBezTo>
                  <a:cubicBezTo>
                    <a:pt x="185486" y="0"/>
                    <a:pt x="202597" y="2992"/>
                    <a:pt x="217378" y="8974"/>
                  </a:cubicBezTo>
                  <a:cubicBezTo>
                    <a:pt x="232145" y="14964"/>
                    <a:pt x="244303" y="23387"/>
                    <a:pt x="253840" y="34227"/>
                  </a:cubicBezTo>
                  <a:cubicBezTo>
                    <a:pt x="263377" y="45076"/>
                    <a:pt x="270569" y="57894"/>
                    <a:pt x="275439" y="72667"/>
                  </a:cubicBezTo>
                  <a:cubicBezTo>
                    <a:pt x="280289" y="87453"/>
                    <a:pt x="282728" y="103815"/>
                    <a:pt x="282728" y="121770"/>
                  </a:cubicBezTo>
                  <a:cubicBezTo>
                    <a:pt x="282728" y="144223"/>
                    <a:pt x="279172" y="166670"/>
                    <a:pt x="272074" y="189115"/>
                  </a:cubicBezTo>
                  <a:cubicBezTo>
                    <a:pt x="264963" y="211568"/>
                    <a:pt x="254487" y="231772"/>
                    <a:pt x="240653" y="249728"/>
                  </a:cubicBezTo>
                  <a:cubicBezTo>
                    <a:pt x="226812" y="267676"/>
                    <a:pt x="209524" y="282368"/>
                    <a:pt x="188769" y="293775"/>
                  </a:cubicBezTo>
                  <a:cubicBezTo>
                    <a:pt x="168007" y="305182"/>
                    <a:pt x="143976" y="310900"/>
                    <a:pt x="116683" y="310900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D7659EB5-EB73-EA67-12B8-077EC3C2C6E0}"/>
                </a:ext>
              </a:extLst>
            </p:cNvPr>
            <p:cNvSpPr/>
            <p:nvPr/>
          </p:nvSpPr>
          <p:spPr>
            <a:xfrm>
              <a:off x="10776823" y="2314548"/>
              <a:ext cx="181195" cy="429870"/>
            </a:xfrm>
            <a:custGeom>
              <a:avLst/>
              <a:gdLst>
                <a:gd name="connsiteX0" fmla="*/ 123412 w 181195"/>
                <a:gd name="connsiteY0" fmla="*/ 98772 h 429870"/>
                <a:gd name="connsiteX1" fmla="*/ 91997 w 181195"/>
                <a:gd name="connsiteY1" fmla="*/ 88394 h 429870"/>
                <a:gd name="connsiteX2" fmla="*/ 77972 w 181195"/>
                <a:gd name="connsiteY2" fmla="*/ 56675 h 429870"/>
                <a:gd name="connsiteX3" fmla="*/ 82740 w 181195"/>
                <a:gd name="connsiteY3" fmla="*/ 34515 h 429870"/>
                <a:gd name="connsiteX4" fmla="*/ 95362 w 181195"/>
                <a:gd name="connsiteY4" fmla="*/ 16559 h 429870"/>
                <a:gd name="connsiteX5" fmla="*/ 113597 w 181195"/>
                <a:gd name="connsiteY5" fmla="*/ 4498 h 429870"/>
                <a:gd name="connsiteX6" fmla="*/ 135755 w 181195"/>
                <a:gd name="connsiteY6" fmla="*/ 0 h 429870"/>
                <a:gd name="connsiteX7" fmla="*/ 167170 w 181195"/>
                <a:gd name="connsiteY7" fmla="*/ 10385 h 429870"/>
                <a:gd name="connsiteX8" fmla="*/ 181195 w 181195"/>
                <a:gd name="connsiteY8" fmla="*/ 42092 h 429870"/>
                <a:gd name="connsiteX9" fmla="*/ 176421 w 181195"/>
                <a:gd name="connsiteY9" fmla="*/ 64258 h 429870"/>
                <a:gd name="connsiteX10" fmla="*/ 163805 w 181195"/>
                <a:gd name="connsiteY10" fmla="*/ 82221 h 429870"/>
                <a:gd name="connsiteX11" fmla="*/ 145571 w 181195"/>
                <a:gd name="connsiteY11" fmla="*/ 94283 h 429870"/>
                <a:gd name="connsiteX12" fmla="*/ 123412 w 181195"/>
                <a:gd name="connsiteY12" fmla="*/ 98772 h 429870"/>
                <a:gd name="connsiteX13" fmla="*/ 83027 w 181195"/>
                <a:gd name="connsiteY13" fmla="*/ 429871 h 429870"/>
                <a:gd name="connsiteX14" fmla="*/ 0 w 181195"/>
                <a:gd name="connsiteY14" fmla="*/ 429871 h 429870"/>
                <a:gd name="connsiteX15" fmla="*/ 70118 w 181195"/>
                <a:gd name="connsiteY15" fmla="*/ 134691 h 429870"/>
                <a:gd name="connsiteX16" fmla="*/ 153703 w 181195"/>
                <a:gd name="connsiteY16" fmla="*/ 134691 h 429870"/>
                <a:gd name="connsiteX17" fmla="*/ 83027 w 181195"/>
                <a:gd name="connsiteY17" fmla="*/ 429871 h 4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1195" h="429870">
                  <a:moveTo>
                    <a:pt x="123412" y="98772"/>
                  </a:moveTo>
                  <a:cubicBezTo>
                    <a:pt x="111813" y="98772"/>
                    <a:pt x="101343" y="95311"/>
                    <a:pt x="91997" y="88394"/>
                  </a:cubicBezTo>
                  <a:cubicBezTo>
                    <a:pt x="82645" y="81471"/>
                    <a:pt x="77972" y="70909"/>
                    <a:pt x="77972" y="56675"/>
                  </a:cubicBezTo>
                  <a:cubicBezTo>
                    <a:pt x="77972" y="48825"/>
                    <a:pt x="79560" y="41438"/>
                    <a:pt x="82740" y="34515"/>
                  </a:cubicBezTo>
                  <a:cubicBezTo>
                    <a:pt x="85915" y="27598"/>
                    <a:pt x="90124" y="21609"/>
                    <a:pt x="95362" y="16559"/>
                  </a:cubicBezTo>
                  <a:cubicBezTo>
                    <a:pt x="100594" y="11503"/>
                    <a:pt x="106670" y="7490"/>
                    <a:pt x="113597" y="4498"/>
                  </a:cubicBezTo>
                  <a:cubicBezTo>
                    <a:pt x="120511" y="1499"/>
                    <a:pt x="127901" y="0"/>
                    <a:pt x="135755" y="0"/>
                  </a:cubicBezTo>
                  <a:cubicBezTo>
                    <a:pt x="147342" y="0"/>
                    <a:pt x="157818" y="3462"/>
                    <a:pt x="167170" y="10385"/>
                  </a:cubicBezTo>
                  <a:cubicBezTo>
                    <a:pt x="176508" y="17316"/>
                    <a:pt x="181195" y="27885"/>
                    <a:pt x="181195" y="42092"/>
                  </a:cubicBezTo>
                  <a:cubicBezTo>
                    <a:pt x="181195" y="49949"/>
                    <a:pt x="179595" y="57335"/>
                    <a:pt x="176421" y="64258"/>
                  </a:cubicBezTo>
                  <a:cubicBezTo>
                    <a:pt x="173239" y="71182"/>
                    <a:pt x="169037" y="77165"/>
                    <a:pt x="163805" y="82221"/>
                  </a:cubicBezTo>
                  <a:cubicBezTo>
                    <a:pt x="158561" y="87271"/>
                    <a:pt x="152484" y="91291"/>
                    <a:pt x="145571" y="94283"/>
                  </a:cubicBezTo>
                  <a:cubicBezTo>
                    <a:pt x="138643" y="97274"/>
                    <a:pt x="131266" y="98772"/>
                    <a:pt x="123412" y="98772"/>
                  </a:cubicBezTo>
                  <a:moveTo>
                    <a:pt x="83027" y="429871"/>
                  </a:moveTo>
                  <a:lnTo>
                    <a:pt x="0" y="429871"/>
                  </a:lnTo>
                  <a:lnTo>
                    <a:pt x="70118" y="134691"/>
                  </a:lnTo>
                  <a:lnTo>
                    <a:pt x="153703" y="134691"/>
                  </a:lnTo>
                  <a:lnTo>
                    <a:pt x="83027" y="429871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4203457D-7BD5-F2C9-DFAF-BFD321FEC029}"/>
                </a:ext>
              </a:extLst>
            </p:cNvPr>
            <p:cNvSpPr/>
            <p:nvPr/>
          </p:nvSpPr>
          <p:spPr>
            <a:xfrm>
              <a:off x="10924386" y="2442506"/>
              <a:ext cx="292555" cy="301918"/>
            </a:xfrm>
            <a:custGeom>
              <a:avLst/>
              <a:gdLst>
                <a:gd name="connsiteX0" fmla="*/ 67878 w 292555"/>
                <a:gd name="connsiteY0" fmla="*/ 20204 h 301918"/>
                <a:gd name="connsiteX1" fmla="*/ 88912 w 292555"/>
                <a:gd name="connsiteY1" fmla="*/ 13751 h 301918"/>
                <a:gd name="connsiteX2" fmla="*/ 114714 w 292555"/>
                <a:gd name="connsiteY2" fmla="*/ 7018 h 301918"/>
                <a:gd name="connsiteX3" fmla="*/ 146695 w 292555"/>
                <a:gd name="connsiteY3" fmla="*/ 1969 h 301918"/>
                <a:gd name="connsiteX4" fmla="*/ 186801 w 292555"/>
                <a:gd name="connsiteY4" fmla="*/ 0 h 301918"/>
                <a:gd name="connsiteX5" fmla="*/ 277681 w 292555"/>
                <a:gd name="connsiteY5" fmla="*/ 38166 h 301918"/>
                <a:gd name="connsiteX6" fmla="*/ 286094 w 292555"/>
                <a:gd name="connsiteY6" fmla="*/ 142540 h 301918"/>
                <a:gd name="connsiteX7" fmla="*/ 247949 w 292555"/>
                <a:gd name="connsiteY7" fmla="*/ 301918 h 301918"/>
                <a:gd name="connsiteX8" fmla="*/ 164364 w 292555"/>
                <a:gd name="connsiteY8" fmla="*/ 301918 h 301918"/>
                <a:gd name="connsiteX9" fmla="*/ 201392 w 292555"/>
                <a:gd name="connsiteY9" fmla="*/ 145913 h 301918"/>
                <a:gd name="connsiteX10" fmla="*/ 206719 w 292555"/>
                <a:gd name="connsiteY10" fmla="*/ 117566 h 301918"/>
                <a:gd name="connsiteX11" fmla="*/ 206439 w 292555"/>
                <a:gd name="connsiteY11" fmla="*/ 93444 h 301918"/>
                <a:gd name="connsiteX12" fmla="*/ 196058 w 292555"/>
                <a:gd name="connsiteY12" fmla="*/ 76606 h 301918"/>
                <a:gd name="connsiteX13" fmla="*/ 171101 w 292555"/>
                <a:gd name="connsiteY13" fmla="*/ 70152 h 301918"/>
                <a:gd name="connsiteX14" fmla="*/ 137996 w 292555"/>
                <a:gd name="connsiteY14" fmla="*/ 73518 h 301918"/>
                <a:gd name="connsiteX15" fmla="*/ 83585 w 292555"/>
                <a:gd name="connsiteY15" fmla="*/ 301918 h 301918"/>
                <a:gd name="connsiteX16" fmla="*/ 0 w 292555"/>
                <a:gd name="connsiteY16" fmla="*/ 301918 h 301918"/>
                <a:gd name="connsiteX17" fmla="*/ 67878 w 292555"/>
                <a:gd name="connsiteY17" fmla="*/ 20204 h 3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55" h="301918">
                  <a:moveTo>
                    <a:pt x="67878" y="20204"/>
                  </a:moveTo>
                  <a:cubicBezTo>
                    <a:pt x="74233" y="18336"/>
                    <a:pt x="81243" y="16184"/>
                    <a:pt x="88912" y="13751"/>
                  </a:cubicBezTo>
                  <a:cubicBezTo>
                    <a:pt x="96575" y="11318"/>
                    <a:pt x="105185" y="9076"/>
                    <a:pt x="114714" y="7018"/>
                  </a:cubicBezTo>
                  <a:cubicBezTo>
                    <a:pt x="124257" y="4968"/>
                    <a:pt x="134911" y="3285"/>
                    <a:pt x="146695" y="1969"/>
                  </a:cubicBezTo>
                  <a:cubicBezTo>
                    <a:pt x="158472" y="660"/>
                    <a:pt x="171843" y="0"/>
                    <a:pt x="186801" y="0"/>
                  </a:cubicBezTo>
                  <a:cubicBezTo>
                    <a:pt x="230927" y="0"/>
                    <a:pt x="261218" y="12722"/>
                    <a:pt x="277681" y="38166"/>
                  </a:cubicBezTo>
                  <a:cubicBezTo>
                    <a:pt x="294132" y="63610"/>
                    <a:pt x="296937" y="98411"/>
                    <a:pt x="286094" y="142540"/>
                  </a:cubicBezTo>
                  <a:lnTo>
                    <a:pt x="247949" y="301918"/>
                  </a:lnTo>
                  <a:lnTo>
                    <a:pt x="164364" y="301918"/>
                  </a:lnTo>
                  <a:lnTo>
                    <a:pt x="201392" y="145913"/>
                  </a:lnTo>
                  <a:cubicBezTo>
                    <a:pt x="203632" y="136189"/>
                    <a:pt x="205404" y="126744"/>
                    <a:pt x="206719" y="117566"/>
                  </a:cubicBezTo>
                  <a:cubicBezTo>
                    <a:pt x="208026" y="108408"/>
                    <a:pt x="207931" y="100373"/>
                    <a:pt x="206439" y="93444"/>
                  </a:cubicBezTo>
                  <a:cubicBezTo>
                    <a:pt x="204940" y="86520"/>
                    <a:pt x="201473" y="80905"/>
                    <a:pt x="196058" y="76606"/>
                  </a:cubicBezTo>
                  <a:cubicBezTo>
                    <a:pt x="190636" y="72306"/>
                    <a:pt x="182313" y="70152"/>
                    <a:pt x="171101" y="70152"/>
                  </a:cubicBezTo>
                  <a:cubicBezTo>
                    <a:pt x="160243" y="70152"/>
                    <a:pt x="149215" y="71277"/>
                    <a:pt x="137996" y="73518"/>
                  </a:cubicBezTo>
                  <a:lnTo>
                    <a:pt x="83585" y="301918"/>
                  </a:lnTo>
                  <a:lnTo>
                    <a:pt x="0" y="301918"/>
                  </a:lnTo>
                  <a:lnTo>
                    <a:pt x="67878" y="20204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BEC88CD5-0E1E-6570-4347-DC36B36E9790}"/>
                </a:ext>
              </a:extLst>
            </p:cNvPr>
            <p:cNvSpPr/>
            <p:nvPr/>
          </p:nvSpPr>
          <p:spPr>
            <a:xfrm>
              <a:off x="8608436" y="1360589"/>
              <a:ext cx="1167101" cy="1384409"/>
            </a:xfrm>
            <a:custGeom>
              <a:avLst/>
              <a:gdLst>
                <a:gd name="connsiteX0" fmla="*/ 383798 w 1167101"/>
                <a:gd name="connsiteY0" fmla="*/ 0 h 1384409"/>
                <a:gd name="connsiteX1" fmla="*/ 0 w 1167101"/>
                <a:gd name="connsiteY1" fmla="*/ 1384409 h 1384409"/>
                <a:gd name="connsiteX2" fmla="*/ 783304 w 1167101"/>
                <a:gd name="connsiteY2" fmla="*/ 1384409 h 1384409"/>
                <a:gd name="connsiteX3" fmla="*/ 1167102 w 1167101"/>
                <a:gd name="connsiteY3" fmla="*/ 0 h 1384409"/>
                <a:gd name="connsiteX4" fmla="*/ 383798 w 1167101"/>
                <a:gd name="connsiteY4" fmla="*/ 0 h 138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7101" h="1384409">
                  <a:moveTo>
                    <a:pt x="383798" y="0"/>
                  </a:moveTo>
                  <a:lnTo>
                    <a:pt x="0" y="1384409"/>
                  </a:lnTo>
                  <a:lnTo>
                    <a:pt x="783304" y="1384409"/>
                  </a:lnTo>
                  <a:lnTo>
                    <a:pt x="1167102" y="0"/>
                  </a:lnTo>
                  <a:lnTo>
                    <a:pt x="383798" y="0"/>
                  </a:lnTo>
                  <a:close/>
                </a:path>
              </a:pathLst>
            </a:custGeom>
            <a:solidFill>
              <a:srgbClr val="F7931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ED1142A5-FA4D-1D01-485C-B501F000453B}"/>
                </a:ext>
              </a:extLst>
            </p:cNvPr>
            <p:cNvSpPr/>
            <p:nvPr/>
          </p:nvSpPr>
          <p:spPr>
            <a:xfrm>
              <a:off x="8892131" y="1618610"/>
              <a:ext cx="570272" cy="871527"/>
            </a:xfrm>
            <a:custGeom>
              <a:avLst/>
              <a:gdLst>
                <a:gd name="connsiteX0" fmla="*/ 402264 w 570272"/>
                <a:gd name="connsiteY0" fmla="*/ 343547 h 871527"/>
                <a:gd name="connsiteX1" fmla="*/ 320410 w 570272"/>
                <a:gd name="connsiteY1" fmla="*/ 367349 h 871527"/>
                <a:gd name="connsiteX2" fmla="*/ 230606 w 570272"/>
                <a:gd name="connsiteY2" fmla="*/ 367349 h 871527"/>
                <a:gd name="connsiteX3" fmla="*/ 263608 w 570272"/>
                <a:gd name="connsiteY3" fmla="*/ 228168 h 871527"/>
                <a:gd name="connsiteX4" fmla="*/ 296569 w 570272"/>
                <a:gd name="connsiteY4" fmla="*/ 224993 h 871527"/>
                <a:gd name="connsiteX5" fmla="*/ 337752 w 570272"/>
                <a:gd name="connsiteY5" fmla="*/ 223589 h 871527"/>
                <a:gd name="connsiteX6" fmla="*/ 371647 w 570272"/>
                <a:gd name="connsiteY6" fmla="*/ 226813 h 871527"/>
                <a:gd name="connsiteX7" fmla="*/ 400909 w 570272"/>
                <a:gd name="connsiteY7" fmla="*/ 237293 h 871527"/>
                <a:gd name="connsiteX8" fmla="*/ 421480 w 570272"/>
                <a:gd name="connsiteY8" fmla="*/ 257027 h 871527"/>
                <a:gd name="connsiteX9" fmla="*/ 429286 w 570272"/>
                <a:gd name="connsiteY9" fmla="*/ 286771 h 871527"/>
                <a:gd name="connsiteX10" fmla="*/ 402264 w 570272"/>
                <a:gd name="connsiteY10" fmla="*/ 343547 h 871527"/>
                <a:gd name="connsiteX11" fmla="*/ 381693 w 570272"/>
                <a:gd name="connsiteY11" fmla="*/ 595429 h 871527"/>
                <a:gd name="connsiteX12" fmla="*/ 346450 w 570272"/>
                <a:gd name="connsiteY12" fmla="*/ 625629 h 871527"/>
                <a:gd name="connsiteX13" fmla="*/ 297973 w 570272"/>
                <a:gd name="connsiteY13" fmla="*/ 640736 h 871527"/>
                <a:gd name="connsiteX14" fmla="*/ 243412 w 570272"/>
                <a:gd name="connsiteY14" fmla="*/ 644859 h 871527"/>
                <a:gd name="connsiteX15" fmla="*/ 201813 w 570272"/>
                <a:gd name="connsiteY15" fmla="*/ 643503 h 871527"/>
                <a:gd name="connsiteX16" fmla="*/ 164785 w 570272"/>
                <a:gd name="connsiteY16" fmla="*/ 639340 h 871527"/>
                <a:gd name="connsiteX17" fmla="*/ 204103 w 570272"/>
                <a:gd name="connsiteY17" fmla="*/ 474489 h 871527"/>
                <a:gd name="connsiteX18" fmla="*/ 302972 w 570272"/>
                <a:gd name="connsiteY18" fmla="*/ 474489 h 871527"/>
                <a:gd name="connsiteX19" fmla="*/ 345558 w 570272"/>
                <a:gd name="connsiteY19" fmla="*/ 480943 h 871527"/>
                <a:gd name="connsiteX20" fmla="*/ 374406 w 570272"/>
                <a:gd name="connsiteY20" fmla="*/ 497406 h 871527"/>
                <a:gd name="connsiteX21" fmla="*/ 390439 w 570272"/>
                <a:gd name="connsiteY21" fmla="*/ 520274 h 871527"/>
                <a:gd name="connsiteX22" fmla="*/ 395392 w 570272"/>
                <a:gd name="connsiteY22" fmla="*/ 545943 h 871527"/>
                <a:gd name="connsiteX23" fmla="*/ 381693 w 570272"/>
                <a:gd name="connsiteY23" fmla="*/ 595429 h 871527"/>
                <a:gd name="connsiteX24" fmla="*/ 557889 w 570272"/>
                <a:gd name="connsiteY24" fmla="*/ 197491 h 871527"/>
                <a:gd name="connsiteX25" fmla="*/ 520398 w 570272"/>
                <a:gd name="connsiteY25" fmla="*/ 152176 h 871527"/>
                <a:gd name="connsiteX26" fmla="*/ 455367 w 570272"/>
                <a:gd name="connsiteY26" fmla="*/ 121451 h 871527"/>
                <a:gd name="connsiteX27" fmla="*/ 451723 w 570272"/>
                <a:gd name="connsiteY27" fmla="*/ 120756 h 871527"/>
                <a:gd name="connsiteX28" fmla="*/ 485195 w 570272"/>
                <a:gd name="connsiteY28" fmla="*/ 0 h 871527"/>
                <a:gd name="connsiteX29" fmla="*/ 412407 w 570272"/>
                <a:gd name="connsiteY29" fmla="*/ 0 h 871527"/>
                <a:gd name="connsiteX30" fmla="*/ 381605 w 570272"/>
                <a:gd name="connsiteY30" fmla="*/ 111208 h 871527"/>
                <a:gd name="connsiteX31" fmla="*/ 360612 w 570272"/>
                <a:gd name="connsiteY31" fmla="*/ 109996 h 871527"/>
                <a:gd name="connsiteX32" fmla="*/ 322515 w 570272"/>
                <a:gd name="connsiteY32" fmla="*/ 110698 h 871527"/>
                <a:gd name="connsiteX33" fmla="*/ 353228 w 570272"/>
                <a:gd name="connsiteY33" fmla="*/ 0 h 871527"/>
                <a:gd name="connsiteX34" fmla="*/ 280439 w 570272"/>
                <a:gd name="connsiteY34" fmla="*/ 0 h 871527"/>
                <a:gd name="connsiteX35" fmla="*/ 248746 w 570272"/>
                <a:gd name="connsiteY35" fmla="*/ 114343 h 871527"/>
                <a:gd name="connsiteX36" fmla="*/ 146462 w 570272"/>
                <a:gd name="connsiteY36" fmla="*/ 127440 h 871527"/>
                <a:gd name="connsiteX37" fmla="*/ 0 w 570272"/>
                <a:gd name="connsiteY37" fmla="*/ 741008 h 871527"/>
                <a:gd name="connsiteX38" fmla="*/ 71944 w 570272"/>
                <a:gd name="connsiteY38" fmla="*/ 752136 h 871527"/>
                <a:gd name="connsiteX39" fmla="*/ 38847 w 570272"/>
                <a:gd name="connsiteY39" fmla="*/ 871528 h 871527"/>
                <a:gd name="connsiteX40" fmla="*/ 111587 w 570272"/>
                <a:gd name="connsiteY40" fmla="*/ 871528 h 871527"/>
                <a:gd name="connsiteX41" fmla="*/ 143282 w 570272"/>
                <a:gd name="connsiteY41" fmla="*/ 757233 h 871527"/>
                <a:gd name="connsiteX42" fmla="*/ 201854 w 570272"/>
                <a:gd name="connsiteY42" fmla="*/ 759624 h 871527"/>
                <a:gd name="connsiteX43" fmla="*/ 170814 w 570272"/>
                <a:gd name="connsiteY43" fmla="*/ 871528 h 871527"/>
                <a:gd name="connsiteX44" fmla="*/ 243555 w 570272"/>
                <a:gd name="connsiteY44" fmla="*/ 871528 h 871527"/>
                <a:gd name="connsiteX45" fmla="*/ 275153 w 570272"/>
                <a:gd name="connsiteY45" fmla="*/ 757614 h 871527"/>
                <a:gd name="connsiteX46" fmla="*/ 366129 w 570272"/>
                <a:gd name="connsiteY46" fmla="*/ 741431 h 871527"/>
                <a:gd name="connsiteX47" fmla="*/ 465884 w 570272"/>
                <a:gd name="connsiteY47" fmla="*/ 691107 h 871527"/>
                <a:gd name="connsiteX48" fmla="*/ 521753 w 570272"/>
                <a:gd name="connsiteY48" fmla="*/ 618760 h 871527"/>
                <a:gd name="connsiteX49" fmla="*/ 539095 w 570272"/>
                <a:gd name="connsiteY49" fmla="*/ 534019 h 871527"/>
                <a:gd name="connsiteX50" fmla="*/ 519880 w 570272"/>
                <a:gd name="connsiteY50" fmla="*/ 463968 h 871527"/>
                <a:gd name="connsiteX51" fmla="*/ 459482 w 570272"/>
                <a:gd name="connsiteY51" fmla="*/ 414067 h 871527"/>
                <a:gd name="connsiteX52" fmla="*/ 515813 w 570272"/>
                <a:gd name="connsiteY52" fmla="*/ 379275 h 871527"/>
                <a:gd name="connsiteX53" fmla="*/ 549708 w 570272"/>
                <a:gd name="connsiteY53" fmla="*/ 338498 h 871527"/>
                <a:gd name="connsiteX54" fmla="*/ 566165 w 570272"/>
                <a:gd name="connsiteY54" fmla="*/ 295050 h 871527"/>
                <a:gd name="connsiteX55" fmla="*/ 570273 w 570272"/>
                <a:gd name="connsiteY55" fmla="*/ 252863 h 871527"/>
                <a:gd name="connsiteX56" fmla="*/ 557889 w 570272"/>
                <a:gd name="connsiteY56" fmla="*/ 197491 h 87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70272" h="871527">
                  <a:moveTo>
                    <a:pt x="402264" y="343547"/>
                  </a:moveTo>
                  <a:cubicBezTo>
                    <a:pt x="384317" y="359397"/>
                    <a:pt x="356967" y="367349"/>
                    <a:pt x="320410" y="367349"/>
                  </a:cubicBezTo>
                  <a:lnTo>
                    <a:pt x="230606" y="367349"/>
                  </a:lnTo>
                  <a:lnTo>
                    <a:pt x="263608" y="228168"/>
                  </a:lnTo>
                  <a:cubicBezTo>
                    <a:pt x="270903" y="226962"/>
                    <a:pt x="281938" y="225879"/>
                    <a:pt x="296569" y="224993"/>
                  </a:cubicBezTo>
                  <a:cubicBezTo>
                    <a:pt x="311249" y="224059"/>
                    <a:pt x="324940" y="223589"/>
                    <a:pt x="337752" y="223589"/>
                  </a:cubicBezTo>
                  <a:cubicBezTo>
                    <a:pt x="349394" y="223589"/>
                    <a:pt x="360612" y="224618"/>
                    <a:pt x="371647" y="226813"/>
                  </a:cubicBezTo>
                  <a:cubicBezTo>
                    <a:pt x="382586" y="228925"/>
                    <a:pt x="392353" y="232428"/>
                    <a:pt x="400909" y="237293"/>
                  </a:cubicBezTo>
                  <a:cubicBezTo>
                    <a:pt x="409512" y="242206"/>
                    <a:pt x="416337" y="248747"/>
                    <a:pt x="421480" y="257027"/>
                  </a:cubicBezTo>
                  <a:cubicBezTo>
                    <a:pt x="426711" y="265258"/>
                    <a:pt x="429286" y="275173"/>
                    <a:pt x="429286" y="286771"/>
                  </a:cubicBezTo>
                  <a:cubicBezTo>
                    <a:pt x="429286" y="308753"/>
                    <a:pt x="420309" y="327690"/>
                    <a:pt x="402264" y="343547"/>
                  </a:cubicBezTo>
                  <a:moveTo>
                    <a:pt x="381693" y="595429"/>
                  </a:moveTo>
                  <a:cubicBezTo>
                    <a:pt x="372532" y="608239"/>
                    <a:pt x="360754" y="618339"/>
                    <a:pt x="346450" y="625629"/>
                  </a:cubicBezTo>
                  <a:cubicBezTo>
                    <a:pt x="332092" y="632934"/>
                    <a:pt x="315922" y="637983"/>
                    <a:pt x="297973" y="640736"/>
                  </a:cubicBezTo>
                  <a:cubicBezTo>
                    <a:pt x="279928" y="643503"/>
                    <a:pt x="261790" y="644859"/>
                    <a:pt x="243412" y="644859"/>
                  </a:cubicBezTo>
                  <a:cubicBezTo>
                    <a:pt x="230606" y="644859"/>
                    <a:pt x="216771" y="644389"/>
                    <a:pt x="201813" y="643503"/>
                  </a:cubicBezTo>
                  <a:cubicBezTo>
                    <a:pt x="186896" y="642515"/>
                    <a:pt x="174506" y="641214"/>
                    <a:pt x="164785" y="639340"/>
                  </a:cubicBezTo>
                  <a:lnTo>
                    <a:pt x="204103" y="474489"/>
                  </a:lnTo>
                  <a:lnTo>
                    <a:pt x="302972" y="474489"/>
                  </a:lnTo>
                  <a:cubicBezTo>
                    <a:pt x="319429" y="474489"/>
                    <a:pt x="333638" y="476636"/>
                    <a:pt x="345558" y="480943"/>
                  </a:cubicBezTo>
                  <a:cubicBezTo>
                    <a:pt x="357430" y="485195"/>
                    <a:pt x="367015" y="490721"/>
                    <a:pt x="374406" y="497406"/>
                  </a:cubicBezTo>
                  <a:cubicBezTo>
                    <a:pt x="381693" y="504098"/>
                    <a:pt x="387068" y="511763"/>
                    <a:pt x="390439" y="520274"/>
                  </a:cubicBezTo>
                  <a:cubicBezTo>
                    <a:pt x="393757" y="528874"/>
                    <a:pt x="395392" y="537385"/>
                    <a:pt x="395392" y="545943"/>
                  </a:cubicBezTo>
                  <a:cubicBezTo>
                    <a:pt x="395392" y="566053"/>
                    <a:pt x="390855" y="582563"/>
                    <a:pt x="381693" y="595429"/>
                  </a:cubicBezTo>
                  <a:moveTo>
                    <a:pt x="557889" y="197491"/>
                  </a:moveTo>
                  <a:cubicBezTo>
                    <a:pt x="549708" y="180053"/>
                    <a:pt x="537175" y="164994"/>
                    <a:pt x="520398" y="152176"/>
                  </a:cubicBezTo>
                  <a:cubicBezTo>
                    <a:pt x="503566" y="139366"/>
                    <a:pt x="481919" y="129075"/>
                    <a:pt x="455367" y="121451"/>
                  </a:cubicBezTo>
                  <a:cubicBezTo>
                    <a:pt x="454250" y="121123"/>
                    <a:pt x="452847" y="121035"/>
                    <a:pt x="451723" y="120756"/>
                  </a:cubicBezTo>
                  <a:lnTo>
                    <a:pt x="485195" y="0"/>
                  </a:lnTo>
                  <a:lnTo>
                    <a:pt x="412407" y="0"/>
                  </a:lnTo>
                  <a:lnTo>
                    <a:pt x="381605" y="111208"/>
                  </a:lnTo>
                  <a:cubicBezTo>
                    <a:pt x="374493" y="110882"/>
                    <a:pt x="368139" y="109996"/>
                    <a:pt x="360612" y="109996"/>
                  </a:cubicBezTo>
                  <a:cubicBezTo>
                    <a:pt x="348549" y="109996"/>
                    <a:pt x="335559" y="110370"/>
                    <a:pt x="322515" y="110698"/>
                  </a:cubicBezTo>
                  <a:lnTo>
                    <a:pt x="353228" y="0"/>
                  </a:lnTo>
                  <a:lnTo>
                    <a:pt x="280439" y="0"/>
                  </a:lnTo>
                  <a:lnTo>
                    <a:pt x="248746" y="114343"/>
                  </a:lnTo>
                  <a:cubicBezTo>
                    <a:pt x="213216" y="116865"/>
                    <a:pt x="179043" y="121123"/>
                    <a:pt x="146462" y="127440"/>
                  </a:cubicBezTo>
                  <a:lnTo>
                    <a:pt x="0" y="741008"/>
                  </a:lnTo>
                  <a:cubicBezTo>
                    <a:pt x="21927" y="745778"/>
                    <a:pt x="46373" y="749240"/>
                    <a:pt x="71944" y="752136"/>
                  </a:cubicBezTo>
                  <a:lnTo>
                    <a:pt x="38847" y="871528"/>
                  </a:lnTo>
                  <a:lnTo>
                    <a:pt x="111587" y="871528"/>
                  </a:lnTo>
                  <a:lnTo>
                    <a:pt x="143282" y="757233"/>
                  </a:lnTo>
                  <a:cubicBezTo>
                    <a:pt x="162960" y="758262"/>
                    <a:pt x="182693" y="759386"/>
                    <a:pt x="201854" y="759624"/>
                  </a:cubicBezTo>
                  <a:lnTo>
                    <a:pt x="170814" y="871528"/>
                  </a:lnTo>
                  <a:lnTo>
                    <a:pt x="243555" y="871528"/>
                  </a:lnTo>
                  <a:lnTo>
                    <a:pt x="275153" y="757614"/>
                  </a:lnTo>
                  <a:cubicBezTo>
                    <a:pt x="309048" y="754760"/>
                    <a:pt x="339618" y="749566"/>
                    <a:pt x="366129" y="741431"/>
                  </a:cubicBezTo>
                  <a:cubicBezTo>
                    <a:pt x="407033" y="728988"/>
                    <a:pt x="440266" y="712157"/>
                    <a:pt x="465884" y="691107"/>
                  </a:cubicBezTo>
                  <a:cubicBezTo>
                    <a:pt x="491598" y="670065"/>
                    <a:pt x="510160" y="645881"/>
                    <a:pt x="521753" y="618760"/>
                  </a:cubicBezTo>
                  <a:cubicBezTo>
                    <a:pt x="533388" y="591545"/>
                    <a:pt x="539095" y="563300"/>
                    <a:pt x="539095" y="534019"/>
                  </a:cubicBezTo>
                  <a:cubicBezTo>
                    <a:pt x="539095" y="508391"/>
                    <a:pt x="532686" y="485011"/>
                    <a:pt x="519880" y="463968"/>
                  </a:cubicBezTo>
                  <a:cubicBezTo>
                    <a:pt x="507075" y="442919"/>
                    <a:pt x="486973" y="426272"/>
                    <a:pt x="459482" y="414067"/>
                  </a:cubicBezTo>
                  <a:cubicBezTo>
                    <a:pt x="482716" y="403683"/>
                    <a:pt x="501509" y="392085"/>
                    <a:pt x="515813" y="379275"/>
                  </a:cubicBezTo>
                  <a:cubicBezTo>
                    <a:pt x="530166" y="366457"/>
                    <a:pt x="541432" y="352848"/>
                    <a:pt x="549708" y="338498"/>
                  </a:cubicBezTo>
                  <a:cubicBezTo>
                    <a:pt x="557889" y="324181"/>
                    <a:pt x="563399" y="309680"/>
                    <a:pt x="566165" y="295050"/>
                  </a:cubicBezTo>
                  <a:cubicBezTo>
                    <a:pt x="568917" y="280365"/>
                    <a:pt x="570273" y="266335"/>
                    <a:pt x="570273" y="252863"/>
                  </a:cubicBezTo>
                  <a:cubicBezTo>
                    <a:pt x="570273" y="233360"/>
                    <a:pt x="566165" y="214887"/>
                    <a:pt x="557889" y="197491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12" name="Picture 111">
            <a:extLst>
              <a:ext uri="{FF2B5EF4-FFF2-40B4-BE49-F238E27FC236}">
                <a16:creationId xmlns:a16="http://schemas.microsoft.com/office/drawing/2014/main" id="{994DD179-AA0F-8033-2F52-6101626671F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91043" y="86536"/>
            <a:ext cx="6645339" cy="5060577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5528B026-2849-2FA3-5848-838AEB690110}"/>
              </a:ext>
            </a:extLst>
          </p:cNvPr>
          <p:cNvSpPr txBox="1"/>
          <p:nvPr/>
        </p:nvSpPr>
        <p:spPr>
          <a:xfrm>
            <a:off x="9311610" y="7546156"/>
            <a:ext cx="1121159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200" b="1" dirty="0">
                <a:solidFill>
                  <a:srgbClr val="F7941F"/>
                </a:solidFill>
                <a:latin typeface="Ubuntu" panose="020B0304030602030204" pitchFamily="34" charset="0"/>
                <a:ea typeface="Open Sans" pitchFamily="2" charset="0"/>
                <a:cs typeface="Open Sans" pitchFamily="2" charset="0"/>
              </a:rPr>
              <a:t>Understanding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D9DF9F58-155F-B24A-A950-A7315233191A}"/>
              </a:ext>
            </a:extLst>
          </p:cNvPr>
          <p:cNvSpPr txBox="1"/>
          <p:nvPr/>
        </p:nvSpPr>
        <p:spPr>
          <a:xfrm>
            <a:off x="24382413" y="13716000"/>
            <a:ext cx="5503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Money Is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EFCC3CC-F077-B973-6B5A-93C254EB214C}"/>
              </a:ext>
            </a:extLst>
          </p:cNvPr>
          <p:cNvSpPr txBox="1"/>
          <p:nvPr/>
        </p:nvSpPr>
        <p:spPr>
          <a:xfrm>
            <a:off x="24651609" y="14843223"/>
            <a:ext cx="5503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y It Is Broken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B5A4673-0439-D40F-3D81-494FB66DDB47}"/>
              </a:ext>
            </a:extLst>
          </p:cNvPr>
          <p:cNvSpPr txBox="1"/>
          <p:nvPr/>
        </p:nvSpPr>
        <p:spPr>
          <a:xfrm>
            <a:off x="24401823" y="15970446"/>
            <a:ext cx="5503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Bitcoin Is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F25C0F25-6100-21B2-BE15-73090F2B9594}"/>
              </a:ext>
            </a:extLst>
          </p:cNvPr>
          <p:cNvSpPr txBox="1"/>
          <p:nvPr/>
        </p:nvSpPr>
        <p:spPr>
          <a:xfrm>
            <a:off x="23116950" y="17041503"/>
            <a:ext cx="9593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ow Bitcoin Works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8DFE1BE-2F4A-2C17-14F4-7115A6D6882B}"/>
              </a:ext>
            </a:extLst>
          </p:cNvPr>
          <p:cNvSpPr txBox="1"/>
          <p:nvPr/>
        </p:nvSpPr>
        <p:spPr>
          <a:xfrm>
            <a:off x="23026688" y="18077157"/>
            <a:ext cx="9593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ow to Use Bitcoin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F3A8C84A-07D4-1942-3C48-77BF12BCAD20}"/>
              </a:ext>
            </a:extLst>
          </p:cNvPr>
          <p:cNvSpPr txBox="1"/>
          <p:nvPr/>
        </p:nvSpPr>
        <p:spPr>
          <a:xfrm>
            <a:off x="9961334" y="8607015"/>
            <a:ext cx="6943725" cy="4027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160"/>
              </a:lnSpc>
            </a:pPr>
            <a:r>
              <a:rPr lang="en-US" sz="4400" b="0" i="0" dirty="0">
                <a:solidFill>
                  <a:schemeClr val="bg1">
                    <a:lumMod val="8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Money Is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hy It Is Broken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hat Bitcoin Is 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ow Bitcoin Works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ow to Use Bitcoin</a:t>
            </a:r>
          </a:p>
        </p:txBody>
      </p:sp>
      <p:pic>
        <p:nvPicPr>
          <p:cNvPr id="130" name="Graphic 129" descr="Play">
            <a:extLst>
              <a:ext uri="{FF2B5EF4-FFF2-40B4-BE49-F238E27FC236}">
                <a16:creationId xmlns:a16="http://schemas.microsoft.com/office/drawing/2014/main" id="{470C2331-8AF4-4554-4439-37C47A395A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8803206"/>
            <a:ext cx="539889" cy="539889"/>
          </a:xfrm>
          <a:prstGeom prst="rect">
            <a:avLst/>
          </a:prstGeom>
        </p:spPr>
      </p:pic>
      <p:pic>
        <p:nvPicPr>
          <p:cNvPr id="131" name="Graphic 130" descr="Play">
            <a:extLst>
              <a:ext uri="{FF2B5EF4-FFF2-40B4-BE49-F238E27FC236}">
                <a16:creationId xmlns:a16="http://schemas.microsoft.com/office/drawing/2014/main" id="{7C16D5D3-53F4-AA56-7B9B-4BC7CDF237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9569325"/>
            <a:ext cx="539889" cy="539889"/>
          </a:xfrm>
          <a:prstGeom prst="rect">
            <a:avLst/>
          </a:prstGeom>
        </p:spPr>
      </p:pic>
      <p:pic>
        <p:nvPicPr>
          <p:cNvPr id="132" name="Graphic 131" descr="Play">
            <a:extLst>
              <a:ext uri="{FF2B5EF4-FFF2-40B4-BE49-F238E27FC236}">
                <a16:creationId xmlns:a16="http://schemas.microsoft.com/office/drawing/2014/main" id="{35BE3EE0-10A3-B961-B33E-A7D85B72FF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10335444"/>
            <a:ext cx="539889" cy="539889"/>
          </a:xfrm>
          <a:prstGeom prst="rect">
            <a:avLst/>
          </a:prstGeom>
        </p:spPr>
      </p:pic>
      <p:pic>
        <p:nvPicPr>
          <p:cNvPr id="133" name="Graphic 132" descr="Play">
            <a:extLst>
              <a:ext uri="{FF2B5EF4-FFF2-40B4-BE49-F238E27FC236}">
                <a16:creationId xmlns:a16="http://schemas.microsoft.com/office/drawing/2014/main" id="{4C217E15-479B-06BC-9CFF-AF57247F6A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11132455"/>
            <a:ext cx="539889" cy="539889"/>
          </a:xfrm>
          <a:prstGeom prst="rect">
            <a:avLst/>
          </a:prstGeom>
        </p:spPr>
      </p:pic>
      <p:pic>
        <p:nvPicPr>
          <p:cNvPr id="134" name="Graphic 133" descr="Play">
            <a:extLst>
              <a:ext uri="{FF2B5EF4-FFF2-40B4-BE49-F238E27FC236}">
                <a16:creationId xmlns:a16="http://schemas.microsoft.com/office/drawing/2014/main" id="{ED6E051E-CD7C-B104-B7F6-B9FF5CEA54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11898574"/>
            <a:ext cx="539889" cy="539889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07FE9DF-0702-D460-03FE-D191D7BE7694}"/>
              </a:ext>
            </a:extLst>
          </p:cNvPr>
          <p:cNvSpPr/>
          <p:nvPr/>
        </p:nvSpPr>
        <p:spPr>
          <a:xfrm>
            <a:off x="9437854" y="5428481"/>
            <a:ext cx="5530684" cy="14295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7F615DF-98BD-3F22-5229-77D17A338754}"/>
              </a:ext>
            </a:extLst>
          </p:cNvPr>
          <p:cNvSpPr txBox="1"/>
          <p:nvPr/>
        </p:nvSpPr>
        <p:spPr>
          <a:xfrm>
            <a:off x="7167106" y="3849112"/>
            <a:ext cx="1004661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BITCOIN INTRO </a:t>
            </a:r>
            <a:r>
              <a:rPr lang="en-US" sz="9600" b="1" dirty="0">
                <a:solidFill>
                  <a:srgbClr val="3C3C3C"/>
                </a:solidFill>
                <a:effectLst/>
                <a:latin typeface="Ubuntu" panose="020B0304030602030204" pitchFamily="34" charset="0"/>
              </a:rPr>
              <a:t>COURSE</a:t>
            </a:r>
            <a:endParaRPr lang="en-US" sz="9600" b="1" dirty="0">
              <a:solidFill>
                <a:srgbClr val="3C3C3C"/>
              </a:solidFill>
              <a:latin typeface="Ubuntu" panose="020B0304030602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095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BCFC9D8-3771-ED5E-9E82-2538EAFEC8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2412" cy="1371510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0</a:t>
            </a:fld>
            <a:endParaRPr lang="lt-LT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2AA7BB9-AC22-F01A-3D5E-10F5B59030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E57980E-6DAC-5B93-77BE-79C192BF4863}"/>
              </a:ext>
            </a:extLst>
          </p:cNvPr>
          <p:cNvSpPr txBox="1"/>
          <p:nvPr/>
        </p:nvSpPr>
        <p:spPr>
          <a:xfrm>
            <a:off x="1079501" y="8770149"/>
            <a:ext cx="51511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b="1" dirty="0">
                <a:solidFill>
                  <a:srgbClr val="F7941F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bitcoi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6BB17D-2816-6CBF-24C7-8657636BBFA5}"/>
              </a:ext>
            </a:extLst>
          </p:cNvPr>
          <p:cNvSpPr txBox="1"/>
          <p:nvPr/>
        </p:nvSpPr>
        <p:spPr>
          <a:xfrm>
            <a:off x="1079501" y="10051904"/>
            <a:ext cx="51511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onetary uni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C7A634-BAC0-3ED3-E83F-A3B2BDA88DC2}"/>
              </a:ext>
            </a:extLst>
          </p:cNvPr>
          <p:cNvSpPr txBox="1"/>
          <p:nvPr/>
        </p:nvSpPr>
        <p:spPr>
          <a:xfrm>
            <a:off x="8634266" y="8770149"/>
            <a:ext cx="71122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rgbClr val="F7941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he</a:t>
            </a:r>
            <a:r>
              <a:rPr lang="en-US" sz="7200" b="1" dirty="0">
                <a:solidFill>
                  <a:srgbClr val="F7941F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 network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63089DB-8E58-B0AA-76EC-EC22CE962092}"/>
              </a:ext>
            </a:extLst>
          </p:cNvPr>
          <p:cNvSpPr txBox="1"/>
          <p:nvPr/>
        </p:nvSpPr>
        <p:spPr>
          <a:xfrm>
            <a:off x="8323199" y="10051904"/>
            <a:ext cx="664533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onnected nodes with a common rulese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B2A654C-FD95-7163-2FB7-00649BC85FEF}"/>
              </a:ext>
            </a:extLst>
          </p:cNvPr>
          <p:cNvSpPr txBox="1"/>
          <p:nvPr/>
        </p:nvSpPr>
        <p:spPr>
          <a:xfrm>
            <a:off x="16508339" y="8770149"/>
            <a:ext cx="71122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>
                <a:solidFill>
                  <a:srgbClr val="F7941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he</a:t>
            </a:r>
            <a:r>
              <a:rPr lang="en-US" sz="7200" b="1" dirty="0">
                <a:solidFill>
                  <a:srgbClr val="F7941F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 blockcha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9BED8A0-EA30-5BA6-4B79-EB597B4B8B98}"/>
              </a:ext>
            </a:extLst>
          </p:cNvPr>
          <p:cNvSpPr txBox="1"/>
          <p:nvPr/>
        </p:nvSpPr>
        <p:spPr>
          <a:xfrm>
            <a:off x="17061058" y="10051904"/>
            <a:ext cx="62625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linked record of verified transaction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5D54B8C-CDC1-8AD7-F1AD-E7F605279B08}"/>
              </a:ext>
            </a:extLst>
          </p:cNvPr>
          <p:cNvSpPr/>
          <p:nvPr/>
        </p:nvSpPr>
        <p:spPr>
          <a:xfrm>
            <a:off x="1414732" y="4563374"/>
            <a:ext cx="1216325" cy="2061713"/>
          </a:xfrm>
          <a:prstGeom prst="rect">
            <a:avLst/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phic 32" descr="Bitcoin">
            <a:extLst>
              <a:ext uri="{FF2B5EF4-FFF2-40B4-BE49-F238E27FC236}">
                <a16:creationId xmlns:a16="http://schemas.microsoft.com/office/drawing/2014/main" id="{6020386C-A5D6-FA2C-EAB4-03DFB36B7A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3537" y="4603883"/>
            <a:ext cx="1863437" cy="1863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520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1</a:t>
            </a:fld>
            <a:endParaRPr lang="lt-LT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DBB6A2-8133-D07B-8CB2-515C06450A3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490F839-27A7-18F3-5CDD-8A513D0544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EE4CA6E-04F5-BE5F-F63D-0FB0513FEA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44376" y="3610988"/>
            <a:ext cx="24726789" cy="565645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814B93E-ECE9-FCF2-D482-6BF140C55659}"/>
              </a:ext>
            </a:extLst>
          </p:cNvPr>
          <p:cNvSpPr txBox="1"/>
          <p:nvPr/>
        </p:nvSpPr>
        <p:spPr>
          <a:xfrm>
            <a:off x="1123730" y="8138141"/>
            <a:ext cx="31020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omeone Request a transa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D7B982-E4FE-BEBC-F5E4-5B50EAFF898E}"/>
              </a:ext>
            </a:extLst>
          </p:cNvPr>
          <p:cNvSpPr txBox="1"/>
          <p:nvPr/>
        </p:nvSpPr>
        <p:spPr>
          <a:xfrm>
            <a:off x="4373881" y="8103188"/>
            <a:ext cx="310205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ransaction broadcasted to P2P computers (nod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354139-510A-3254-3822-2F09F8DDCC50}"/>
              </a:ext>
            </a:extLst>
          </p:cNvPr>
          <p:cNvSpPr txBox="1"/>
          <p:nvPr/>
        </p:nvSpPr>
        <p:spPr>
          <a:xfrm>
            <a:off x="7772129" y="8111247"/>
            <a:ext cx="293593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iners verify the transac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A73C71-EA95-7E71-4A83-89D55860445C}"/>
              </a:ext>
            </a:extLst>
          </p:cNvPr>
          <p:cNvSpPr txBox="1"/>
          <p:nvPr/>
        </p:nvSpPr>
        <p:spPr>
          <a:xfrm>
            <a:off x="11307039" y="8103188"/>
            <a:ext cx="310205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ransactions combined to form a data bloc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5806C5-1B94-4C44-600A-4D72E993C2A3}"/>
              </a:ext>
            </a:extLst>
          </p:cNvPr>
          <p:cNvSpPr txBox="1"/>
          <p:nvPr/>
        </p:nvSpPr>
        <p:spPr>
          <a:xfrm>
            <a:off x="15109097" y="8138141"/>
            <a:ext cx="402674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ew block added to the existing blockchai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1289A1-B319-8C97-3448-A7B3FAFF878F}"/>
              </a:ext>
            </a:extLst>
          </p:cNvPr>
          <p:cNvSpPr txBox="1"/>
          <p:nvPr/>
        </p:nvSpPr>
        <p:spPr>
          <a:xfrm>
            <a:off x="19831748" y="8138141"/>
            <a:ext cx="36738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he transaction is complete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DCB3BFA0-9A08-659D-1819-DFA798E685BB}"/>
              </a:ext>
            </a:extLst>
          </p:cNvPr>
          <p:cNvSpPr/>
          <p:nvPr/>
        </p:nvSpPr>
        <p:spPr>
          <a:xfrm>
            <a:off x="8048790" y="2524125"/>
            <a:ext cx="8308809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CBF3EC-2EC3-8F4F-A8F0-10AD9AF3CD9D}"/>
              </a:ext>
            </a:extLst>
          </p:cNvPr>
          <p:cNvSpPr txBox="1"/>
          <p:nvPr/>
        </p:nvSpPr>
        <p:spPr>
          <a:xfrm>
            <a:off x="6554030" y="906656"/>
            <a:ext cx="112727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583684"/>
                </a:solidFill>
                <a:effectLst/>
                <a:latin typeface="Ubuntu" panose="020B0304030602030204" pitchFamily="34" charset="0"/>
              </a:rPr>
              <a:t>Peer-to-Peer 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Transactions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2327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24B70999-B02D-C82F-D784-E0C95D8C17B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86563" y="11723110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1349B8-9347-8B59-BDC3-10F5B611D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2</a:t>
            </a:fld>
            <a:endParaRPr lang="lt-LT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EB6E0F14-CC31-FF27-1EF4-D32F209FEB22}"/>
              </a:ext>
            </a:extLst>
          </p:cNvPr>
          <p:cNvSpPr/>
          <p:nvPr/>
        </p:nvSpPr>
        <p:spPr>
          <a:xfrm>
            <a:off x="1173910" y="5154324"/>
            <a:ext cx="9629775" cy="6486525"/>
          </a:xfrm>
          <a:custGeom>
            <a:avLst/>
            <a:gdLst>
              <a:gd name="connsiteX0" fmla="*/ 0 w 9629775"/>
              <a:gd name="connsiteY0" fmla="*/ 6486525 h 6486525"/>
              <a:gd name="connsiteX1" fmla="*/ 2371725 w 9629775"/>
              <a:gd name="connsiteY1" fmla="*/ 6315075 h 6486525"/>
              <a:gd name="connsiteX2" fmla="*/ 3486150 w 9629775"/>
              <a:gd name="connsiteY2" fmla="*/ 6100763 h 6486525"/>
              <a:gd name="connsiteX3" fmla="*/ 4900613 w 9629775"/>
              <a:gd name="connsiteY3" fmla="*/ 5543550 h 6486525"/>
              <a:gd name="connsiteX4" fmla="*/ 5557838 w 9629775"/>
              <a:gd name="connsiteY4" fmla="*/ 5543550 h 6486525"/>
              <a:gd name="connsiteX5" fmla="*/ 6400800 w 9629775"/>
              <a:gd name="connsiteY5" fmla="*/ 5043488 h 6486525"/>
              <a:gd name="connsiteX6" fmla="*/ 8043863 w 9629775"/>
              <a:gd name="connsiteY6" fmla="*/ 3543300 h 6486525"/>
              <a:gd name="connsiteX7" fmla="*/ 9372600 w 9629775"/>
              <a:gd name="connsiteY7" fmla="*/ 1628775 h 6486525"/>
              <a:gd name="connsiteX8" fmla="*/ 9629775 w 9629775"/>
              <a:gd name="connsiteY8" fmla="*/ 0 h 6486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629775" h="6486525">
                <a:moveTo>
                  <a:pt x="0" y="6486525"/>
                </a:moveTo>
                <a:lnTo>
                  <a:pt x="2371725" y="6315075"/>
                </a:lnTo>
                <a:lnTo>
                  <a:pt x="3486150" y="6100763"/>
                </a:lnTo>
                <a:lnTo>
                  <a:pt x="4900613" y="5543550"/>
                </a:lnTo>
                <a:lnTo>
                  <a:pt x="5557838" y="5543550"/>
                </a:lnTo>
                <a:lnTo>
                  <a:pt x="6400800" y="5043488"/>
                </a:lnTo>
                <a:lnTo>
                  <a:pt x="8043863" y="3543300"/>
                </a:lnTo>
                <a:lnTo>
                  <a:pt x="9372600" y="1628775"/>
                </a:lnTo>
                <a:lnTo>
                  <a:pt x="9629775" y="0"/>
                </a:lnTo>
              </a:path>
            </a:pathLst>
          </a:custGeom>
          <a:noFill/>
          <a:ln w="76200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BD12128C-D6E4-28AF-E57B-DC69922BF8F8}"/>
              </a:ext>
            </a:extLst>
          </p:cNvPr>
          <p:cNvSpPr/>
          <p:nvPr/>
        </p:nvSpPr>
        <p:spPr>
          <a:xfrm>
            <a:off x="1173910" y="5159688"/>
            <a:ext cx="9765437" cy="6604986"/>
          </a:xfrm>
          <a:custGeom>
            <a:avLst/>
            <a:gdLst>
              <a:gd name="connsiteX0" fmla="*/ 44388 w 9765437"/>
              <a:gd name="connsiteY0" fmla="*/ 6471821 h 6604986"/>
              <a:gd name="connsiteX1" fmla="*/ 2396971 w 9765437"/>
              <a:gd name="connsiteY1" fmla="*/ 6329779 h 6604986"/>
              <a:gd name="connsiteX2" fmla="*/ 3515557 w 9765437"/>
              <a:gd name="connsiteY2" fmla="*/ 6116715 h 6604986"/>
              <a:gd name="connsiteX3" fmla="*/ 4918229 w 9765437"/>
              <a:gd name="connsiteY3" fmla="*/ 5557421 h 6604986"/>
              <a:gd name="connsiteX4" fmla="*/ 5592932 w 9765437"/>
              <a:gd name="connsiteY4" fmla="*/ 5539666 h 6604986"/>
              <a:gd name="connsiteX5" fmla="*/ 6454066 w 9765437"/>
              <a:gd name="connsiteY5" fmla="*/ 5060272 h 6604986"/>
              <a:gd name="connsiteX6" fmla="*/ 8060924 w 9765437"/>
              <a:gd name="connsiteY6" fmla="*/ 3559946 h 6604986"/>
              <a:gd name="connsiteX7" fmla="*/ 9392575 w 9765437"/>
              <a:gd name="connsiteY7" fmla="*/ 1642369 h 6604986"/>
              <a:gd name="connsiteX8" fmla="*/ 9650027 w 9765437"/>
              <a:gd name="connsiteY8" fmla="*/ 0 h 6604986"/>
              <a:gd name="connsiteX9" fmla="*/ 9650027 w 9765437"/>
              <a:gd name="connsiteY9" fmla="*/ 6604986 h 6604986"/>
              <a:gd name="connsiteX10" fmla="*/ 9765437 w 9765437"/>
              <a:gd name="connsiteY10" fmla="*/ 6604986 h 6604986"/>
              <a:gd name="connsiteX11" fmla="*/ 0 w 9765437"/>
              <a:gd name="connsiteY11" fmla="*/ 6604986 h 6604986"/>
              <a:gd name="connsiteX12" fmla="*/ 44388 w 9765437"/>
              <a:gd name="connsiteY12" fmla="*/ 6471821 h 6604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65437" h="6604986">
                <a:moveTo>
                  <a:pt x="44388" y="6471821"/>
                </a:moveTo>
                <a:lnTo>
                  <a:pt x="2396971" y="6329779"/>
                </a:lnTo>
                <a:lnTo>
                  <a:pt x="3515557" y="6116715"/>
                </a:lnTo>
                <a:lnTo>
                  <a:pt x="4918229" y="5557421"/>
                </a:lnTo>
                <a:lnTo>
                  <a:pt x="5592932" y="5539666"/>
                </a:lnTo>
                <a:lnTo>
                  <a:pt x="6454066" y="5060272"/>
                </a:lnTo>
                <a:lnTo>
                  <a:pt x="8060924" y="3559946"/>
                </a:lnTo>
                <a:lnTo>
                  <a:pt x="9392575" y="1642369"/>
                </a:lnTo>
                <a:lnTo>
                  <a:pt x="9650027" y="0"/>
                </a:lnTo>
                <a:lnTo>
                  <a:pt x="9650027" y="6604986"/>
                </a:lnTo>
                <a:lnTo>
                  <a:pt x="9765437" y="6604986"/>
                </a:lnTo>
                <a:lnTo>
                  <a:pt x="0" y="6604986"/>
                </a:lnTo>
                <a:lnTo>
                  <a:pt x="44388" y="6471821"/>
                </a:lnTo>
                <a:close/>
              </a:path>
            </a:pathLst>
          </a:cu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89EA3B7-9668-CB40-48C3-280BEF154307}"/>
              </a:ext>
            </a:extLst>
          </p:cNvPr>
          <p:cNvSpPr/>
          <p:nvPr/>
        </p:nvSpPr>
        <p:spPr>
          <a:xfrm>
            <a:off x="13505841" y="4837401"/>
            <a:ext cx="9795164" cy="6885709"/>
          </a:xfrm>
          <a:custGeom>
            <a:avLst/>
            <a:gdLst>
              <a:gd name="connsiteX0" fmla="*/ 0 w 9795164"/>
              <a:gd name="connsiteY0" fmla="*/ 6885709 h 6885709"/>
              <a:gd name="connsiteX1" fmla="*/ 263236 w 9795164"/>
              <a:gd name="connsiteY1" fmla="*/ 4627418 h 6885709"/>
              <a:gd name="connsiteX2" fmla="*/ 429491 w 9795164"/>
              <a:gd name="connsiteY2" fmla="*/ 3048000 h 6885709"/>
              <a:gd name="connsiteX3" fmla="*/ 540327 w 9795164"/>
              <a:gd name="connsiteY3" fmla="*/ 1981200 h 6885709"/>
              <a:gd name="connsiteX4" fmla="*/ 789709 w 9795164"/>
              <a:gd name="connsiteY4" fmla="*/ 1191491 h 6885709"/>
              <a:gd name="connsiteX5" fmla="*/ 1122218 w 9795164"/>
              <a:gd name="connsiteY5" fmla="*/ 581891 h 6885709"/>
              <a:gd name="connsiteX6" fmla="*/ 1468582 w 9795164"/>
              <a:gd name="connsiteY6" fmla="*/ 221673 h 6885709"/>
              <a:gd name="connsiteX7" fmla="*/ 2064327 w 9795164"/>
              <a:gd name="connsiteY7" fmla="*/ 69273 h 6885709"/>
              <a:gd name="connsiteX8" fmla="*/ 3061854 w 9795164"/>
              <a:gd name="connsiteY8" fmla="*/ 0 h 6885709"/>
              <a:gd name="connsiteX9" fmla="*/ 9795164 w 9795164"/>
              <a:gd name="connsiteY9" fmla="*/ 13855 h 6885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95164" h="6885709">
                <a:moveTo>
                  <a:pt x="0" y="6885709"/>
                </a:moveTo>
                <a:lnTo>
                  <a:pt x="263236" y="4627418"/>
                </a:lnTo>
                <a:lnTo>
                  <a:pt x="429491" y="3048000"/>
                </a:lnTo>
                <a:lnTo>
                  <a:pt x="540327" y="1981200"/>
                </a:lnTo>
                <a:lnTo>
                  <a:pt x="789709" y="1191491"/>
                </a:lnTo>
                <a:lnTo>
                  <a:pt x="1122218" y="581891"/>
                </a:lnTo>
                <a:lnTo>
                  <a:pt x="1468582" y="221673"/>
                </a:lnTo>
                <a:lnTo>
                  <a:pt x="2064327" y="69273"/>
                </a:lnTo>
                <a:lnTo>
                  <a:pt x="3061854" y="0"/>
                </a:lnTo>
                <a:lnTo>
                  <a:pt x="9795164" y="13855"/>
                </a:lnTo>
              </a:path>
            </a:pathLst>
          </a:custGeom>
          <a:noFill/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C8580E86-97EE-4C1D-8EB7-2DF7F43AB1AE}"/>
              </a:ext>
            </a:extLst>
          </p:cNvPr>
          <p:cNvSpPr/>
          <p:nvPr/>
        </p:nvSpPr>
        <p:spPr>
          <a:xfrm>
            <a:off x="13519695" y="4837401"/>
            <a:ext cx="9795164" cy="6927273"/>
          </a:xfrm>
          <a:custGeom>
            <a:avLst/>
            <a:gdLst>
              <a:gd name="connsiteX0" fmla="*/ 0 w 9795164"/>
              <a:gd name="connsiteY0" fmla="*/ 6885709 h 6927273"/>
              <a:gd name="connsiteX1" fmla="*/ 166255 w 9795164"/>
              <a:gd name="connsiteY1" fmla="*/ 5264728 h 6927273"/>
              <a:gd name="connsiteX2" fmla="*/ 318655 w 9795164"/>
              <a:gd name="connsiteY2" fmla="*/ 3768437 h 6927273"/>
              <a:gd name="connsiteX3" fmla="*/ 512619 w 9795164"/>
              <a:gd name="connsiteY3" fmla="*/ 2161309 h 6927273"/>
              <a:gd name="connsiteX4" fmla="*/ 775855 w 9795164"/>
              <a:gd name="connsiteY4" fmla="*/ 1260764 h 6927273"/>
              <a:gd name="connsiteX5" fmla="*/ 1122219 w 9795164"/>
              <a:gd name="connsiteY5" fmla="*/ 512618 h 6927273"/>
              <a:gd name="connsiteX6" fmla="*/ 1468582 w 9795164"/>
              <a:gd name="connsiteY6" fmla="*/ 221673 h 6927273"/>
              <a:gd name="connsiteX7" fmla="*/ 2147455 w 9795164"/>
              <a:gd name="connsiteY7" fmla="*/ 96982 h 6927273"/>
              <a:gd name="connsiteX8" fmla="*/ 3311237 w 9795164"/>
              <a:gd name="connsiteY8" fmla="*/ 13855 h 6927273"/>
              <a:gd name="connsiteX9" fmla="*/ 9795164 w 9795164"/>
              <a:gd name="connsiteY9" fmla="*/ 0 h 6927273"/>
              <a:gd name="connsiteX10" fmla="*/ 9781310 w 9795164"/>
              <a:gd name="connsiteY10" fmla="*/ 6927273 h 6927273"/>
              <a:gd name="connsiteX11" fmla="*/ 0 w 9795164"/>
              <a:gd name="connsiteY11" fmla="*/ 6885709 h 692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795164" h="6927273">
                <a:moveTo>
                  <a:pt x="0" y="6885709"/>
                </a:moveTo>
                <a:lnTo>
                  <a:pt x="166255" y="5264728"/>
                </a:lnTo>
                <a:lnTo>
                  <a:pt x="318655" y="3768437"/>
                </a:lnTo>
                <a:lnTo>
                  <a:pt x="512619" y="2161309"/>
                </a:lnTo>
                <a:lnTo>
                  <a:pt x="775855" y="1260764"/>
                </a:lnTo>
                <a:lnTo>
                  <a:pt x="1122219" y="512618"/>
                </a:lnTo>
                <a:lnTo>
                  <a:pt x="1468582" y="221673"/>
                </a:lnTo>
                <a:lnTo>
                  <a:pt x="2147455" y="96982"/>
                </a:lnTo>
                <a:lnTo>
                  <a:pt x="3311237" y="13855"/>
                </a:lnTo>
                <a:lnTo>
                  <a:pt x="9795164" y="0"/>
                </a:lnTo>
                <a:lnTo>
                  <a:pt x="9781310" y="6927273"/>
                </a:lnTo>
                <a:lnTo>
                  <a:pt x="0" y="6885709"/>
                </a:lnTo>
                <a:close/>
              </a:path>
            </a:pathLst>
          </a:custGeom>
          <a:gradFill>
            <a:gsLst>
              <a:gs pos="0">
                <a:srgbClr val="F7941F">
                  <a:alpha val="0"/>
                </a:srgbClr>
              </a:gs>
              <a:gs pos="100000">
                <a:srgbClr val="F7941F">
                  <a:alpha val="588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4DF734C1-DF04-440C-3BBC-7A7EDDBF6592}"/>
              </a:ext>
            </a:extLst>
          </p:cNvPr>
          <p:cNvSpPr/>
          <p:nvPr/>
        </p:nvSpPr>
        <p:spPr>
          <a:xfrm rot="709858">
            <a:off x="10595993" y="4851483"/>
            <a:ext cx="443090" cy="340137"/>
          </a:xfrm>
          <a:prstGeom prst="triangle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31E4185-E80A-750C-112D-C8154E6F654F}"/>
              </a:ext>
            </a:extLst>
          </p:cNvPr>
          <p:cNvSpPr/>
          <p:nvPr/>
        </p:nvSpPr>
        <p:spPr>
          <a:xfrm>
            <a:off x="22915386" y="4608224"/>
            <a:ext cx="413327" cy="413327"/>
          </a:xfrm>
          <a:prstGeom prst="ellipse">
            <a:avLst/>
          </a:prstGeom>
          <a:solidFill>
            <a:srgbClr val="F7941F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 descr="Dollar">
            <a:extLst>
              <a:ext uri="{FF2B5EF4-FFF2-40B4-BE49-F238E27FC236}">
                <a16:creationId xmlns:a16="http://schemas.microsoft.com/office/drawing/2014/main" id="{4C4A1266-E1BC-A148-5BD5-F67D4EFB1F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38604" y="3607717"/>
            <a:ext cx="914400" cy="914400"/>
          </a:xfrm>
          <a:prstGeom prst="rect">
            <a:avLst/>
          </a:prstGeom>
        </p:spPr>
      </p:pic>
      <p:pic>
        <p:nvPicPr>
          <p:cNvPr id="13" name="Graphic 12" descr="Bitcoin">
            <a:extLst>
              <a:ext uri="{FF2B5EF4-FFF2-40B4-BE49-F238E27FC236}">
                <a16:creationId xmlns:a16="http://schemas.microsoft.com/office/drawing/2014/main" id="{99DC6A00-D743-A3A9-014E-30A54F524B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49" y="3519821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73EBB-88FE-0E52-6B11-4B947D688DA4}"/>
              </a:ext>
            </a:extLst>
          </p:cNvPr>
          <p:cNvSpPr txBox="1"/>
          <p:nvPr/>
        </p:nvSpPr>
        <p:spPr>
          <a:xfrm>
            <a:off x="6996310" y="3594322"/>
            <a:ext cx="50770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1 Trill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763916-E2EF-56A7-8BEE-9F32E935A3F2}"/>
              </a:ext>
            </a:extLst>
          </p:cNvPr>
          <p:cNvSpPr txBox="1"/>
          <p:nvPr/>
        </p:nvSpPr>
        <p:spPr>
          <a:xfrm>
            <a:off x="18460344" y="3531593"/>
            <a:ext cx="50770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1 Mill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EB0E22-B392-E187-0024-CF254BCEC910}"/>
              </a:ext>
            </a:extLst>
          </p:cNvPr>
          <p:cNvSpPr txBox="1"/>
          <p:nvPr/>
        </p:nvSpPr>
        <p:spPr>
          <a:xfrm>
            <a:off x="1070326" y="8503953"/>
            <a:ext cx="64039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U.S. M2 Money Supply</a:t>
            </a:r>
          </a:p>
          <a:p>
            <a:r>
              <a:rPr lang="en-US" sz="44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1960-202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9F3F04F-9227-3E24-583C-2AA8EF1131DC}"/>
              </a:ext>
            </a:extLst>
          </p:cNvPr>
          <p:cNvSpPr txBox="1"/>
          <p:nvPr/>
        </p:nvSpPr>
        <p:spPr>
          <a:xfrm>
            <a:off x="16101085" y="8503953"/>
            <a:ext cx="64039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Bitcoin Money Supply</a:t>
            </a:r>
          </a:p>
          <a:p>
            <a:r>
              <a:rPr lang="en-US" sz="44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009-2140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C025FFD-1EE1-8394-2ED0-43496548BD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7CF5862-A52B-2BCD-F793-59BA8CC904C1}"/>
              </a:ext>
            </a:extLst>
          </p:cNvPr>
          <p:cNvSpPr/>
          <p:nvPr/>
        </p:nvSpPr>
        <p:spPr>
          <a:xfrm>
            <a:off x="2492541" y="1094606"/>
            <a:ext cx="19419722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F62266-01F5-6FFA-75C5-E9093BC666D4}"/>
              </a:ext>
            </a:extLst>
          </p:cNvPr>
          <p:cNvSpPr txBox="1"/>
          <p:nvPr/>
        </p:nvSpPr>
        <p:spPr>
          <a:xfrm>
            <a:off x="1856154" y="943473"/>
            <a:ext cx="2067169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as Sound Digital Money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283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263CB144-5D12-EB52-92E2-C1E59AC66C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0699C24-1098-3AA7-DA92-60A8653847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2117" y="731520"/>
            <a:ext cx="21454716" cy="1251756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05BF01-9E76-A6F1-44FB-F1C2EB8E3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3</a:t>
            </a:fld>
            <a:endParaRPr lang="lt-LT"/>
          </a:p>
        </p:txBody>
      </p:sp>
      <p:sp>
        <p:nvSpPr>
          <p:cNvPr id="7" name="AutoShape 2" descr="How does Bitcoin work? - Bitcoin">
            <a:extLst>
              <a:ext uri="{FF2B5EF4-FFF2-40B4-BE49-F238E27FC236}">
                <a16:creationId xmlns:a16="http://schemas.microsoft.com/office/drawing/2014/main" id="{4F29B539-C55B-1938-07F2-DA5534B0AE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038012" y="6705599"/>
            <a:ext cx="6808787" cy="680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42819E-E0A7-E7DB-60C0-BF7DD7AFFA56}"/>
              </a:ext>
            </a:extLst>
          </p:cNvPr>
          <p:cNvSpPr txBox="1"/>
          <p:nvPr/>
        </p:nvSpPr>
        <p:spPr>
          <a:xfrm>
            <a:off x="955675" y="9604686"/>
            <a:ext cx="457993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F7941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It’s the result of 40 years of research, development and demand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514ED-6AE0-DD93-F16C-0FE233034993}"/>
              </a:ext>
            </a:extLst>
          </p:cNvPr>
          <p:cNvSpPr/>
          <p:nvPr/>
        </p:nvSpPr>
        <p:spPr>
          <a:xfrm rot="5400000">
            <a:off x="21906976" y="11240563"/>
            <a:ext cx="1192314" cy="3758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72A6232-DDF6-ED53-BF91-211887F84133}"/>
              </a:ext>
            </a:extLst>
          </p:cNvPr>
          <p:cNvSpPr/>
          <p:nvPr/>
        </p:nvSpPr>
        <p:spPr>
          <a:xfrm>
            <a:off x="3758558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9B970E-A22B-C9C7-4EF6-FB75846C37E5}"/>
              </a:ext>
            </a:extLst>
          </p:cNvPr>
          <p:cNvSpPr/>
          <p:nvPr/>
        </p:nvSpPr>
        <p:spPr>
          <a:xfrm>
            <a:off x="8503553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4EBAB1B-4A70-C323-11AE-8326AEF64F67}"/>
              </a:ext>
            </a:extLst>
          </p:cNvPr>
          <p:cNvSpPr/>
          <p:nvPr/>
        </p:nvSpPr>
        <p:spPr>
          <a:xfrm>
            <a:off x="12877845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58D48C8-D16E-613A-96DB-9741B3D9E3D5}"/>
              </a:ext>
            </a:extLst>
          </p:cNvPr>
          <p:cNvSpPr/>
          <p:nvPr/>
        </p:nvSpPr>
        <p:spPr>
          <a:xfrm>
            <a:off x="17350991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45C6D05-AA0B-024F-19FA-52C18452FB6C}"/>
              </a:ext>
            </a:extLst>
          </p:cNvPr>
          <p:cNvSpPr txBox="1"/>
          <p:nvPr/>
        </p:nvSpPr>
        <p:spPr>
          <a:xfrm>
            <a:off x="3335295" y="12507604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40 yea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AFCB3F-7905-8387-07D5-5466CEA62BDC}"/>
              </a:ext>
            </a:extLst>
          </p:cNvPr>
          <p:cNvSpPr txBox="1"/>
          <p:nvPr/>
        </p:nvSpPr>
        <p:spPr>
          <a:xfrm>
            <a:off x="8075246" y="12507604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30 yea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4082306-FBF6-ED74-7189-4FE7F0A253E0}"/>
              </a:ext>
            </a:extLst>
          </p:cNvPr>
          <p:cNvSpPr txBox="1"/>
          <p:nvPr/>
        </p:nvSpPr>
        <p:spPr>
          <a:xfrm>
            <a:off x="12591262" y="12507604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20 yea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1A2672-8CFC-F8A0-549D-587DC3C4A8E0}"/>
              </a:ext>
            </a:extLst>
          </p:cNvPr>
          <p:cNvSpPr txBox="1"/>
          <p:nvPr/>
        </p:nvSpPr>
        <p:spPr>
          <a:xfrm>
            <a:off x="16790038" y="12523685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10 year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26ED9B1-E72D-317F-070E-B5465515BD8E}"/>
              </a:ext>
            </a:extLst>
          </p:cNvPr>
          <p:cNvSpPr/>
          <p:nvPr/>
        </p:nvSpPr>
        <p:spPr>
          <a:xfrm>
            <a:off x="4702174" y="6705599"/>
            <a:ext cx="17376775" cy="114301"/>
          </a:xfrm>
          <a:prstGeom prst="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3D00CBF1-48AE-A6D6-747B-07F2BB0E1584}"/>
              </a:ext>
            </a:extLst>
          </p:cNvPr>
          <p:cNvSpPr/>
          <p:nvPr/>
        </p:nvSpPr>
        <p:spPr>
          <a:xfrm>
            <a:off x="1079501" y="1079500"/>
            <a:ext cx="5578463" cy="115333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D3E7531-CA96-B5AB-DE24-80ACDF6CD37B}"/>
              </a:ext>
            </a:extLst>
          </p:cNvPr>
          <p:cNvSpPr txBox="1"/>
          <p:nvPr/>
        </p:nvSpPr>
        <p:spPr>
          <a:xfrm>
            <a:off x="1426842" y="1205708"/>
            <a:ext cx="52689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Ubuntu" panose="020B0304030602030204" pitchFamily="34" charset="0"/>
              </a:rPr>
              <a:t>Bitcoin’s Cre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9A368-5733-90F4-1F46-59FE4EACC23D}"/>
              </a:ext>
            </a:extLst>
          </p:cNvPr>
          <p:cNvSpPr/>
          <p:nvPr/>
        </p:nvSpPr>
        <p:spPr>
          <a:xfrm>
            <a:off x="19134138" y="11190288"/>
            <a:ext cx="5172695" cy="1444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46D61F13-7E4C-9EBA-E41F-E6ED0040F4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802118" y="9554545"/>
            <a:ext cx="6645339" cy="5060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307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41D817-7A0B-665E-BE0E-0EA279F5E8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5178" y="-827399"/>
            <a:ext cx="6645339" cy="5060577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4905099-EC2B-FACD-AD67-45C60476C7EF}"/>
              </a:ext>
            </a:extLst>
          </p:cNvPr>
          <p:cNvCxnSpPr>
            <a:cxnSpLocks/>
          </p:cNvCxnSpPr>
          <p:nvPr/>
        </p:nvCxnSpPr>
        <p:spPr>
          <a:xfrm>
            <a:off x="1419726" y="8301038"/>
            <a:ext cx="9938418" cy="0"/>
          </a:xfrm>
          <a:prstGeom prst="line">
            <a:avLst/>
          </a:prstGeom>
          <a:ln w="571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9EE5AF7E-1A99-6064-49E8-0EF710244B63}"/>
              </a:ext>
            </a:extLst>
          </p:cNvPr>
          <p:cNvSpPr/>
          <p:nvPr/>
        </p:nvSpPr>
        <p:spPr>
          <a:xfrm>
            <a:off x="14338709" y="3672297"/>
            <a:ext cx="8962616" cy="8962616"/>
          </a:xfrm>
          <a:prstGeom prst="ellips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E621D3-4651-6880-FE79-154EF4D9D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4</a:t>
            </a:fld>
            <a:endParaRPr lang="lt-LT"/>
          </a:p>
        </p:txBody>
      </p:sp>
      <p:pic>
        <p:nvPicPr>
          <p:cNvPr id="17410" name="Picture 2" descr="Wallets">
            <a:extLst>
              <a:ext uri="{FF2B5EF4-FFF2-40B4-BE49-F238E27FC236}">
                <a16:creationId xmlns:a16="http://schemas.microsoft.com/office/drawing/2014/main" id="{56C961DD-1F90-96A8-760B-D375E7C04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102" b="95972" l="9940" r="92671">
                        <a14:foregroundMark x1="35442" y1="9807" x2="39257" y2="5867"/>
                        <a14:foregroundMark x1="39257" y1="5867" x2="55924" y2="4203"/>
                        <a14:foregroundMark x1="55924" y1="4203" x2="56225" y2="4203"/>
                        <a14:foregroundMark x1="59538" y1="4378" x2="41165" y2="2977"/>
                        <a14:foregroundMark x1="61546" y1="2627" x2="67369" y2="3503"/>
                        <a14:foregroundMark x1="63153" y1="2102" x2="68574" y2="3765"/>
                        <a14:foregroundMark x1="68574" y1="3765" x2="73092" y2="13835"/>
                        <a14:foregroundMark x1="73092" y1="13835" x2="73594" y2="23730"/>
                        <a14:foregroundMark x1="70382" y1="4729" x2="73394" y2="11821"/>
                        <a14:foregroundMark x1="73394" y1="11296" x2="72590" y2="6567"/>
                        <a14:foregroundMark x1="72590" y1="6567" x2="68675" y2="3503"/>
                        <a14:foregroundMark x1="68675" y1="3503" x2="67570" y2="2977"/>
                        <a14:foregroundMark x1="72390" y1="20928" x2="75000" y2="24869"/>
                        <a14:foregroundMark x1="75000" y1="24869" x2="81426" y2="29947"/>
                        <a14:foregroundMark x1="81426" y1="29947" x2="87751" y2="67601"/>
                        <a14:foregroundMark x1="87751" y1="67601" x2="86446" y2="72067"/>
                        <a14:foregroundMark x1="86446" y1="72067" x2="66064" y2="80473"/>
                        <a14:foregroundMark x1="66064" y1="80473" x2="61345" y2="81173"/>
                        <a14:foregroundMark x1="86145" y1="55429" x2="90462" y2="60333"/>
                        <a14:foregroundMark x1="90462" y1="60333" x2="91566" y2="65236"/>
                        <a14:foregroundMark x1="91566" y1="65236" x2="89157" y2="72680"/>
                        <a14:foregroundMark x1="90562" y1="58581" x2="92771" y2="74431"/>
                        <a14:foregroundMark x1="79317" y1="54203" x2="75602" y2="67776"/>
                        <a14:foregroundMark x1="81124" y1="67426" x2="82329" y2="79072"/>
                        <a14:foregroundMark x1="80924" y1="73905" x2="73193" y2="92557"/>
                        <a14:foregroundMark x1="70382" y1="81874" x2="64759" y2="95972"/>
                        <a14:foregroundMark x1="64759" y1="92207" x2="52750" y2="91052"/>
                        <a14:foregroundMark x1="42471" y1="90683" x2="33458" y2="90539"/>
                        <a14:foregroundMark x1="27882" y1="89900" x2="25602" y2="86077"/>
                        <a14:foregroundMark x1="25602" y1="86077" x2="25502" y2="81436"/>
                        <a14:foregroundMark x1="25502" y1="81436" x2="21486" y2="78546"/>
                        <a14:foregroundMark x1="21486" y1="78546" x2="22189" y2="73993"/>
                        <a14:foregroundMark x1="22189" y1="73993" x2="24699" y2="70053"/>
                        <a14:foregroundMark x1="24699" y1="70053" x2="24900" y2="64886"/>
                        <a14:foregroundMark x1="24900" y1="64886" x2="20984" y2="61821"/>
                        <a14:foregroundMark x1="20984" y1="61821" x2="27309" y2="58144"/>
                        <a14:foregroundMark x1="27309" y1="58144" x2="29819" y2="54203"/>
                        <a14:foregroundMark x1="29819" y1="54203" x2="22490" y2="51226"/>
                        <a14:foregroundMark x1="22490" y1="51226" x2="28815" y2="40018"/>
                        <a14:foregroundMark x1="28815" y1="40018" x2="23795" y2="35289"/>
                        <a14:foregroundMark x1="23795" y1="35289" x2="12751" y2="34151"/>
                        <a14:foregroundMark x1="12751" y1="34151" x2="18876" y2="33100"/>
                        <a14:foregroundMark x1="18876" y1="33100" x2="34438" y2="33800"/>
                        <a14:foregroundMark x1="73293" y1="32049" x2="73092" y2="54116"/>
                        <a14:foregroundMark x1="25000" y1="8231" x2="24900" y2="33012"/>
                        <a14:foregroundMark x1="53313" y1="91944" x2="29920" y2="90718"/>
                        <a14:foregroundMark x1="29920" y1="90718" x2="27410" y2="88091"/>
                        <a14:foregroundMark x1="28012" y1="91506" x2="30622" y2="91856"/>
                        <a14:foregroundMark x1="24197" y1="9282" x2="25803" y2="4904"/>
                        <a14:foregroundMark x1="25803" y1="4904" x2="30723" y2="3152"/>
                        <a14:foregroundMark x1="30723" y1="3152" x2="37550" y2="2452"/>
                        <a14:foregroundMark x1="37550" y1="2452" x2="42068" y2="28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57126" y="2112849"/>
            <a:ext cx="9244199" cy="1059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F63FB76-39F6-4EAB-8C50-A0B891CE1C52}"/>
              </a:ext>
            </a:extLst>
          </p:cNvPr>
          <p:cNvSpPr txBox="1"/>
          <p:nvPr/>
        </p:nvSpPr>
        <p:spPr>
          <a:xfrm>
            <a:off x="1072480" y="4773524"/>
            <a:ext cx="833278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A wallet is the interface you use to send and receive Bitcoin transaction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C13456-E2C7-D708-5C78-5E762B91748F}"/>
              </a:ext>
            </a:extLst>
          </p:cNvPr>
          <p:cNvSpPr txBox="1"/>
          <p:nvPr/>
        </p:nvSpPr>
        <p:spPr>
          <a:xfrm>
            <a:off x="1079501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eed Phrase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0500C-B2D4-2D5F-1084-DC87E6B5C7FB}"/>
              </a:ext>
            </a:extLst>
          </p:cNvPr>
          <p:cNvSpPr txBox="1"/>
          <p:nvPr/>
        </p:nvSpPr>
        <p:spPr>
          <a:xfrm>
            <a:off x="4358773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rivate Ke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2D754-4505-49BC-3E9C-4245C13E1A04}"/>
              </a:ext>
            </a:extLst>
          </p:cNvPr>
          <p:cNvSpPr txBox="1"/>
          <p:nvPr/>
        </p:nvSpPr>
        <p:spPr>
          <a:xfrm>
            <a:off x="7494653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ublic Key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8B10C6-1B38-53B7-4194-95A38D018042}"/>
              </a:ext>
            </a:extLst>
          </p:cNvPr>
          <p:cNvSpPr txBox="1"/>
          <p:nvPr/>
        </p:nvSpPr>
        <p:spPr>
          <a:xfrm>
            <a:off x="10722392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ddress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4DCE532-4BCA-C5F6-64F9-81AB518B37EB}"/>
              </a:ext>
            </a:extLst>
          </p:cNvPr>
          <p:cNvSpPr/>
          <p:nvPr/>
        </p:nvSpPr>
        <p:spPr>
          <a:xfrm>
            <a:off x="1079501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A3980AB-D973-F8B3-326F-B1E7CA004D39}"/>
              </a:ext>
            </a:extLst>
          </p:cNvPr>
          <p:cNvSpPr/>
          <p:nvPr/>
        </p:nvSpPr>
        <p:spPr>
          <a:xfrm>
            <a:off x="4430962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2013669-61DF-638C-31F9-FFA3868650F5}"/>
              </a:ext>
            </a:extLst>
          </p:cNvPr>
          <p:cNvSpPr/>
          <p:nvPr/>
        </p:nvSpPr>
        <p:spPr>
          <a:xfrm>
            <a:off x="7573610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7209E55-59E1-9808-11E4-377CD7E07559}"/>
              </a:ext>
            </a:extLst>
          </p:cNvPr>
          <p:cNvSpPr/>
          <p:nvPr/>
        </p:nvSpPr>
        <p:spPr>
          <a:xfrm>
            <a:off x="10801350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DA56E1-8EEC-A2DD-0AD9-D52CA90BC7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2050" name="Picture 2" descr="Activity status">
            <a:extLst>
              <a:ext uri="{FF2B5EF4-FFF2-40B4-BE49-F238E27FC236}">
                <a16:creationId xmlns:a16="http://schemas.microsoft.com/office/drawing/2014/main" id="{FC39498A-F1FC-8542-FE2B-79B2C9A27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11568" y="2421696"/>
            <a:ext cx="4308931" cy="9330272"/>
          </a:xfrm>
          <a:prstGeom prst="roundRect">
            <a:avLst>
              <a:gd name="adj" fmla="val 1220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6179435-ECAA-DA04-7AA7-5F31DC3F6C6D}"/>
              </a:ext>
            </a:extLst>
          </p:cNvPr>
          <p:cNvSpPr/>
          <p:nvPr/>
        </p:nvSpPr>
        <p:spPr>
          <a:xfrm>
            <a:off x="1079500" y="2552647"/>
            <a:ext cx="8690141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1DC464-AD30-8B70-CEBB-49503BB7332A}"/>
              </a:ext>
            </a:extLst>
          </p:cNvPr>
          <p:cNvSpPr txBox="1"/>
          <p:nvPr/>
        </p:nvSpPr>
        <p:spPr>
          <a:xfrm>
            <a:off x="1162706" y="935178"/>
            <a:ext cx="869014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What is a Bitcoin Wallet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43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920EE95-89FF-839B-9203-58F961D5DF7C}"/>
              </a:ext>
            </a:extLst>
          </p:cNvPr>
          <p:cNvSpPr/>
          <p:nvPr/>
        </p:nvSpPr>
        <p:spPr>
          <a:xfrm>
            <a:off x="12696538" y="3970338"/>
            <a:ext cx="10603934" cy="7939164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DA58B37-BF48-D97C-2595-09C06121C530}"/>
              </a:ext>
            </a:extLst>
          </p:cNvPr>
          <p:cNvSpPr/>
          <p:nvPr/>
        </p:nvSpPr>
        <p:spPr>
          <a:xfrm>
            <a:off x="1079501" y="3970337"/>
            <a:ext cx="10603934" cy="7939165"/>
          </a:xfrm>
          <a:prstGeom prst="roundRect">
            <a:avLst>
              <a:gd name="adj" fmla="val 747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2700000" scaled="1"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AF1713C-E346-6BAB-6663-5531E4FD1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5</a:t>
            </a:fld>
            <a:endParaRPr lang="lt-LT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3FE988-45A5-9D33-BEED-0C816FFB8D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CB5259-A5F1-F63A-6A78-D3905C5D53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A7722C-7E59-5C0B-F48A-514108C19DDC}"/>
              </a:ext>
            </a:extLst>
          </p:cNvPr>
          <p:cNvSpPr txBox="1"/>
          <p:nvPr/>
        </p:nvSpPr>
        <p:spPr>
          <a:xfrm>
            <a:off x="2501778" y="6499069"/>
            <a:ext cx="826476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Self-Custodial</a:t>
            </a:r>
            <a:endParaRPr lang="en-US" sz="6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A79505-60F0-E272-A100-0DB42695A3C3}"/>
              </a:ext>
            </a:extLst>
          </p:cNvPr>
          <p:cNvSpPr txBox="1"/>
          <p:nvPr/>
        </p:nvSpPr>
        <p:spPr>
          <a:xfrm>
            <a:off x="13615866" y="6472387"/>
            <a:ext cx="826476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Custodial</a:t>
            </a:r>
            <a:endParaRPr lang="en-US" sz="6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9B22B7-9607-1459-337C-5AAECD8625C8}"/>
              </a:ext>
            </a:extLst>
          </p:cNvPr>
          <p:cNvSpPr txBox="1"/>
          <p:nvPr/>
        </p:nvSpPr>
        <p:spPr>
          <a:xfrm>
            <a:off x="1869786" y="956051"/>
            <a:ext cx="2239554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Custodial</a:t>
            </a: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 vs </a:t>
            </a:r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Non-Custodial </a:t>
            </a: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Wallets</a:t>
            </a:r>
            <a:endParaRPr lang="en-US" sz="9600" b="1" dirty="0">
              <a:solidFill>
                <a:srgbClr val="5E378E"/>
              </a:solidFill>
              <a:latin typeface="Ubuntu" panose="020B0304030602030204" pitchFamily="34" charset="0"/>
            </a:endParaRPr>
          </a:p>
        </p:txBody>
      </p:sp>
      <p:sp>
        <p:nvSpPr>
          <p:cNvPr id="27" name="Pentagon 26">
            <a:extLst>
              <a:ext uri="{FF2B5EF4-FFF2-40B4-BE49-F238E27FC236}">
                <a16:creationId xmlns:a16="http://schemas.microsoft.com/office/drawing/2014/main" id="{AE6B2B9D-E0A4-D6CF-076F-28C25D12CFD4}"/>
              </a:ext>
            </a:extLst>
          </p:cNvPr>
          <p:cNvSpPr/>
          <p:nvPr/>
        </p:nvSpPr>
        <p:spPr>
          <a:xfrm>
            <a:off x="2088951" y="7939919"/>
            <a:ext cx="4601010" cy="1039068"/>
          </a:xfrm>
          <a:prstGeom prst="homePlate">
            <a:avLst>
              <a:gd name="adj" fmla="val 36717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2A8ACD1-ECAB-E337-D398-E572ED230AC0}"/>
              </a:ext>
            </a:extLst>
          </p:cNvPr>
          <p:cNvSpPr txBox="1"/>
          <p:nvPr/>
        </p:nvSpPr>
        <p:spPr>
          <a:xfrm>
            <a:off x="3161600" y="8033304"/>
            <a:ext cx="35471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igning Key</a:t>
            </a: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77165855-9FD4-3645-8CDA-70D4016A9326}"/>
              </a:ext>
            </a:extLst>
          </p:cNvPr>
          <p:cNvSpPr/>
          <p:nvPr/>
        </p:nvSpPr>
        <p:spPr>
          <a:xfrm>
            <a:off x="1662544" y="8459453"/>
            <a:ext cx="5418729" cy="1779550"/>
          </a:xfrm>
          <a:custGeom>
            <a:avLst/>
            <a:gdLst>
              <a:gd name="connsiteX0" fmla="*/ 8666019 w 9393382"/>
              <a:gd name="connsiteY0" fmla="*/ 0 h 1808018"/>
              <a:gd name="connsiteX1" fmla="*/ 9393382 w 9393382"/>
              <a:gd name="connsiteY1" fmla="*/ 0 h 1808018"/>
              <a:gd name="connsiteX2" fmla="*/ 9393382 w 9393382"/>
              <a:gd name="connsiteY2" fmla="*/ 976745 h 1808018"/>
              <a:gd name="connsiteX3" fmla="*/ 9081655 w 9393382"/>
              <a:gd name="connsiteY3" fmla="*/ 976745 h 1808018"/>
              <a:gd name="connsiteX4" fmla="*/ 0 w 9393382"/>
              <a:gd name="connsiteY4" fmla="*/ 976745 h 1808018"/>
              <a:gd name="connsiteX5" fmla="*/ 0 w 9393382"/>
              <a:gd name="connsiteY5" fmla="*/ 1808018 h 1808018"/>
              <a:gd name="connsiteX6" fmla="*/ 602673 w 9393382"/>
              <a:gd name="connsiteY6" fmla="*/ 1808018 h 180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93382" h="1808018">
                <a:moveTo>
                  <a:pt x="8666019" y="0"/>
                </a:moveTo>
                <a:lnTo>
                  <a:pt x="9393382" y="0"/>
                </a:lnTo>
                <a:lnTo>
                  <a:pt x="9393382" y="976745"/>
                </a:lnTo>
                <a:lnTo>
                  <a:pt x="9081655" y="976745"/>
                </a:lnTo>
                <a:lnTo>
                  <a:pt x="0" y="976745"/>
                </a:lnTo>
                <a:lnTo>
                  <a:pt x="0" y="1808018"/>
                </a:lnTo>
                <a:lnTo>
                  <a:pt x="602673" y="1808018"/>
                </a:lnTo>
              </a:path>
            </a:pathLst>
          </a:custGeom>
          <a:noFill/>
          <a:ln w="38100">
            <a:solidFill>
              <a:srgbClr val="E6E3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Pentagon 28">
            <a:extLst>
              <a:ext uri="{FF2B5EF4-FFF2-40B4-BE49-F238E27FC236}">
                <a16:creationId xmlns:a16="http://schemas.microsoft.com/office/drawing/2014/main" id="{2C727C9C-7D96-DC98-262C-84484FEC61B6}"/>
              </a:ext>
            </a:extLst>
          </p:cNvPr>
          <p:cNvSpPr/>
          <p:nvPr/>
        </p:nvSpPr>
        <p:spPr>
          <a:xfrm>
            <a:off x="2088951" y="9727161"/>
            <a:ext cx="8261298" cy="1528705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E7D25C2-3633-AC16-B3B6-439CDC8189A7}"/>
              </a:ext>
            </a:extLst>
          </p:cNvPr>
          <p:cNvSpPr txBox="1"/>
          <p:nvPr/>
        </p:nvSpPr>
        <p:spPr>
          <a:xfrm>
            <a:off x="2468563" y="9856972"/>
            <a:ext cx="80225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etwork </a:t>
            </a:r>
          </a:p>
          <a:p>
            <a:r>
              <a:rPr lang="en-US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(No intermediaries, you own the Bitcoin)</a:t>
            </a:r>
            <a:endParaRPr lang="en-US" sz="4400" dirty="0">
              <a:solidFill>
                <a:srgbClr val="3C3C3C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5" name="Pentagon 34">
            <a:extLst>
              <a:ext uri="{FF2B5EF4-FFF2-40B4-BE49-F238E27FC236}">
                <a16:creationId xmlns:a16="http://schemas.microsoft.com/office/drawing/2014/main" id="{2F830FEF-E88D-BE83-5337-31F999748005}"/>
              </a:ext>
            </a:extLst>
          </p:cNvPr>
          <p:cNvSpPr/>
          <p:nvPr/>
        </p:nvSpPr>
        <p:spPr>
          <a:xfrm>
            <a:off x="13567077" y="7939919"/>
            <a:ext cx="3285615" cy="1039068"/>
          </a:xfrm>
          <a:prstGeom prst="homePlate">
            <a:avLst>
              <a:gd name="adj" fmla="val 405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6C4BEE9-22CD-D5D6-B6A4-A4116BD9560D}"/>
              </a:ext>
            </a:extLst>
          </p:cNvPr>
          <p:cNvSpPr txBox="1"/>
          <p:nvPr/>
        </p:nvSpPr>
        <p:spPr>
          <a:xfrm>
            <a:off x="14290237" y="8105858"/>
            <a:ext cx="28208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ser</a:t>
            </a: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0F747498-3EEE-E771-E3EE-6B6E41B37B0D}"/>
              </a:ext>
            </a:extLst>
          </p:cNvPr>
          <p:cNvSpPr/>
          <p:nvPr/>
        </p:nvSpPr>
        <p:spPr>
          <a:xfrm>
            <a:off x="13140671" y="8459453"/>
            <a:ext cx="9393382" cy="1808018"/>
          </a:xfrm>
          <a:custGeom>
            <a:avLst/>
            <a:gdLst>
              <a:gd name="connsiteX0" fmla="*/ 8666019 w 9393382"/>
              <a:gd name="connsiteY0" fmla="*/ 0 h 1808018"/>
              <a:gd name="connsiteX1" fmla="*/ 9393382 w 9393382"/>
              <a:gd name="connsiteY1" fmla="*/ 0 h 1808018"/>
              <a:gd name="connsiteX2" fmla="*/ 9393382 w 9393382"/>
              <a:gd name="connsiteY2" fmla="*/ 976745 h 1808018"/>
              <a:gd name="connsiteX3" fmla="*/ 9081655 w 9393382"/>
              <a:gd name="connsiteY3" fmla="*/ 976745 h 1808018"/>
              <a:gd name="connsiteX4" fmla="*/ 0 w 9393382"/>
              <a:gd name="connsiteY4" fmla="*/ 976745 h 1808018"/>
              <a:gd name="connsiteX5" fmla="*/ 0 w 9393382"/>
              <a:gd name="connsiteY5" fmla="*/ 1808018 h 1808018"/>
              <a:gd name="connsiteX6" fmla="*/ 602673 w 9393382"/>
              <a:gd name="connsiteY6" fmla="*/ 1808018 h 180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93382" h="1808018">
                <a:moveTo>
                  <a:pt x="8666019" y="0"/>
                </a:moveTo>
                <a:lnTo>
                  <a:pt x="9393382" y="0"/>
                </a:lnTo>
                <a:lnTo>
                  <a:pt x="9393382" y="976745"/>
                </a:lnTo>
                <a:lnTo>
                  <a:pt x="9081655" y="976745"/>
                </a:lnTo>
                <a:lnTo>
                  <a:pt x="0" y="976745"/>
                </a:lnTo>
                <a:lnTo>
                  <a:pt x="0" y="1808018"/>
                </a:lnTo>
                <a:lnTo>
                  <a:pt x="602673" y="1808018"/>
                </a:lnTo>
              </a:path>
            </a:pathLst>
          </a:custGeom>
          <a:noFill/>
          <a:ln w="38100">
            <a:solidFill>
              <a:srgbClr val="E6E3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Pentagon 38">
            <a:extLst>
              <a:ext uri="{FF2B5EF4-FFF2-40B4-BE49-F238E27FC236}">
                <a16:creationId xmlns:a16="http://schemas.microsoft.com/office/drawing/2014/main" id="{6607C06F-3F2F-B4A0-6E20-2B186E2E038E}"/>
              </a:ext>
            </a:extLst>
          </p:cNvPr>
          <p:cNvSpPr/>
          <p:nvPr/>
        </p:nvSpPr>
        <p:spPr>
          <a:xfrm>
            <a:off x="13567076" y="9727161"/>
            <a:ext cx="8966977" cy="1528705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4EB3A3C-CCC8-0308-58CB-2455EE27BC91}"/>
              </a:ext>
            </a:extLst>
          </p:cNvPr>
          <p:cNvSpPr txBox="1"/>
          <p:nvPr/>
        </p:nvSpPr>
        <p:spPr>
          <a:xfrm>
            <a:off x="13897332" y="9856971"/>
            <a:ext cx="80149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etwork  </a:t>
            </a:r>
            <a:r>
              <a:rPr lang="en-US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(Provider is intermediary, you don't own the Bitcoin but a claim on them)</a:t>
            </a:r>
            <a:endParaRPr lang="en-US" sz="4400" dirty="0">
              <a:solidFill>
                <a:srgbClr val="3C3C3C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819D9EF-5AD1-282B-F962-0E7564CF12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11951" y="4314699"/>
            <a:ext cx="2185750" cy="218575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CA5DF1FE-75ED-7D1C-34B9-B223DBB857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642951" y="4430026"/>
            <a:ext cx="2207423" cy="2207423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9F1A469B-5E3C-D27D-E4F4-89F2FB2BF5F0}"/>
              </a:ext>
            </a:extLst>
          </p:cNvPr>
          <p:cNvGrpSpPr/>
          <p:nvPr/>
        </p:nvGrpSpPr>
        <p:grpSpPr>
          <a:xfrm>
            <a:off x="2280789" y="8056662"/>
            <a:ext cx="778287" cy="778154"/>
            <a:chOff x="24841116" y="3608709"/>
            <a:chExt cx="825041" cy="824900"/>
          </a:xfrm>
        </p:grpSpPr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7446A9CD-6DB1-BE15-2C16-6C8FC7004B43}"/>
                </a:ext>
              </a:extLst>
            </p:cNvPr>
            <p:cNvSpPr/>
            <p:nvPr/>
          </p:nvSpPr>
          <p:spPr>
            <a:xfrm>
              <a:off x="24841116" y="3608709"/>
              <a:ext cx="825041" cy="824900"/>
            </a:xfrm>
            <a:custGeom>
              <a:avLst/>
              <a:gdLst>
                <a:gd name="connsiteX0" fmla="*/ 58 w 825041"/>
                <a:gd name="connsiteY0" fmla="*/ 674268 h 824900"/>
                <a:gd name="connsiteX1" fmla="*/ 58 w 825041"/>
                <a:gd name="connsiteY1" fmla="*/ 597111 h 824900"/>
                <a:gd name="connsiteX2" fmla="*/ 26069 w 825041"/>
                <a:gd name="connsiteY2" fmla="*/ 535035 h 824900"/>
                <a:gd name="connsiteX3" fmla="*/ 187814 w 825041"/>
                <a:gd name="connsiteY3" fmla="*/ 374164 h 824900"/>
                <a:gd name="connsiteX4" fmla="*/ 198525 w 825041"/>
                <a:gd name="connsiteY4" fmla="*/ 345312 h 824900"/>
                <a:gd name="connsiteX5" fmla="*/ 441143 w 825041"/>
                <a:gd name="connsiteY5" fmla="*/ 7832 h 824900"/>
                <a:gd name="connsiteX6" fmla="*/ 819933 w 825041"/>
                <a:gd name="connsiteY6" fmla="*/ 256134 h 824900"/>
                <a:gd name="connsiteX7" fmla="*/ 553709 w 825041"/>
                <a:gd name="connsiteY7" fmla="*/ 625088 h 824900"/>
                <a:gd name="connsiteX8" fmla="*/ 475022 w 825041"/>
                <a:gd name="connsiteY8" fmla="*/ 626837 h 824900"/>
                <a:gd name="connsiteX9" fmla="*/ 453601 w 825041"/>
                <a:gd name="connsiteY9" fmla="*/ 636454 h 824900"/>
                <a:gd name="connsiteX10" fmla="*/ 290982 w 825041"/>
                <a:gd name="connsiteY10" fmla="*/ 799074 h 824900"/>
                <a:gd name="connsiteX11" fmla="*/ 228906 w 825041"/>
                <a:gd name="connsiteY11" fmla="*/ 824866 h 824900"/>
                <a:gd name="connsiteX12" fmla="*/ 65194 w 825041"/>
                <a:gd name="connsiteY12" fmla="*/ 824429 h 824900"/>
                <a:gd name="connsiteX13" fmla="*/ 277 w 825041"/>
                <a:gd name="connsiteY13" fmla="*/ 759075 h 824900"/>
                <a:gd name="connsiteX14" fmla="*/ 277 w 825041"/>
                <a:gd name="connsiteY14" fmla="*/ 674486 h 824900"/>
                <a:gd name="connsiteX15" fmla="*/ 117870 w 825041"/>
                <a:gd name="connsiteY15" fmla="*/ 706398 h 824900"/>
                <a:gd name="connsiteX16" fmla="*/ 199180 w 825041"/>
                <a:gd name="connsiteY16" fmla="*/ 705742 h 824900"/>
                <a:gd name="connsiteX17" fmla="*/ 227595 w 825041"/>
                <a:gd name="connsiteY17" fmla="*/ 693939 h 824900"/>
                <a:gd name="connsiteX18" fmla="*/ 395461 w 825041"/>
                <a:gd name="connsiteY18" fmla="*/ 526292 h 824900"/>
                <a:gd name="connsiteX19" fmla="*/ 466935 w 825041"/>
                <a:gd name="connsiteY19" fmla="*/ 505309 h 824900"/>
                <a:gd name="connsiteX20" fmla="*/ 704307 w 825041"/>
                <a:gd name="connsiteY20" fmla="*/ 280833 h 824900"/>
                <a:gd name="connsiteX21" fmla="*/ 473710 w 825041"/>
                <a:gd name="connsiteY21" fmla="*/ 121054 h 824900"/>
                <a:gd name="connsiteX22" fmla="*/ 319834 w 825041"/>
                <a:gd name="connsiteY22" fmla="*/ 356897 h 824900"/>
                <a:gd name="connsiteX23" fmla="*/ 296883 w 825041"/>
                <a:gd name="connsiteY23" fmla="*/ 431212 h 824900"/>
                <a:gd name="connsiteX24" fmla="*/ 129018 w 825041"/>
                <a:gd name="connsiteY24" fmla="*/ 599078 h 824900"/>
                <a:gd name="connsiteX25" fmla="*/ 118526 w 825041"/>
                <a:gd name="connsiteY25" fmla="*/ 617001 h 824900"/>
                <a:gd name="connsiteX26" fmla="*/ 118089 w 825041"/>
                <a:gd name="connsiteY26" fmla="*/ 706398 h 82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25041" h="824900">
                  <a:moveTo>
                    <a:pt x="58" y="674268"/>
                  </a:moveTo>
                  <a:cubicBezTo>
                    <a:pt x="58" y="648476"/>
                    <a:pt x="714" y="622684"/>
                    <a:pt x="58" y="597111"/>
                  </a:cubicBezTo>
                  <a:cubicBezTo>
                    <a:pt x="-816" y="571975"/>
                    <a:pt x="8146" y="552521"/>
                    <a:pt x="26069" y="535035"/>
                  </a:cubicBezTo>
                  <a:cubicBezTo>
                    <a:pt x="80494" y="481922"/>
                    <a:pt x="133608" y="427496"/>
                    <a:pt x="187814" y="374164"/>
                  </a:cubicBezTo>
                  <a:cubicBezTo>
                    <a:pt x="196339" y="365640"/>
                    <a:pt x="199617" y="357552"/>
                    <a:pt x="198525" y="345312"/>
                  </a:cubicBezTo>
                  <a:cubicBezTo>
                    <a:pt x="183006" y="172857"/>
                    <a:pt x="300162" y="40400"/>
                    <a:pt x="441143" y="7832"/>
                  </a:cubicBezTo>
                  <a:cubicBezTo>
                    <a:pt x="613380" y="-31730"/>
                    <a:pt x="789114" y="82804"/>
                    <a:pt x="819933" y="256134"/>
                  </a:cubicBezTo>
                  <a:cubicBezTo>
                    <a:pt x="851845" y="434491"/>
                    <a:pt x="730755" y="602794"/>
                    <a:pt x="553709" y="625088"/>
                  </a:cubicBezTo>
                  <a:cubicBezTo>
                    <a:pt x="527698" y="628367"/>
                    <a:pt x="501251" y="625525"/>
                    <a:pt x="475022" y="626837"/>
                  </a:cubicBezTo>
                  <a:cubicBezTo>
                    <a:pt x="467590" y="627274"/>
                    <a:pt x="458847" y="631208"/>
                    <a:pt x="453601" y="636454"/>
                  </a:cubicBezTo>
                  <a:cubicBezTo>
                    <a:pt x="398958" y="690224"/>
                    <a:pt x="344533" y="744212"/>
                    <a:pt x="290982" y="799074"/>
                  </a:cubicBezTo>
                  <a:cubicBezTo>
                    <a:pt x="273496" y="816997"/>
                    <a:pt x="254261" y="825522"/>
                    <a:pt x="228906" y="824866"/>
                  </a:cubicBezTo>
                  <a:cubicBezTo>
                    <a:pt x="174263" y="823773"/>
                    <a:pt x="119838" y="824866"/>
                    <a:pt x="65194" y="824429"/>
                  </a:cubicBezTo>
                  <a:cubicBezTo>
                    <a:pt x="23883" y="824429"/>
                    <a:pt x="714" y="800822"/>
                    <a:pt x="277" y="759075"/>
                  </a:cubicBezTo>
                  <a:cubicBezTo>
                    <a:pt x="58" y="730879"/>
                    <a:pt x="277" y="702682"/>
                    <a:pt x="277" y="674486"/>
                  </a:cubicBezTo>
                  <a:close/>
                  <a:moveTo>
                    <a:pt x="117870" y="706398"/>
                  </a:moveTo>
                  <a:cubicBezTo>
                    <a:pt x="146504" y="706398"/>
                    <a:pt x="172951" y="707491"/>
                    <a:pt x="199180" y="705742"/>
                  </a:cubicBezTo>
                  <a:cubicBezTo>
                    <a:pt x="209016" y="705087"/>
                    <a:pt x="220601" y="700715"/>
                    <a:pt x="227595" y="693939"/>
                  </a:cubicBezTo>
                  <a:cubicBezTo>
                    <a:pt x="284206" y="638640"/>
                    <a:pt x="340161" y="582903"/>
                    <a:pt x="395461" y="526292"/>
                  </a:cubicBezTo>
                  <a:cubicBezTo>
                    <a:pt x="416007" y="505309"/>
                    <a:pt x="438083" y="498970"/>
                    <a:pt x="466935" y="505309"/>
                  </a:cubicBezTo>
                  <a:cubicBezTo>
                    <a:pt x="605074" y="535691"/>
                    <a:pt x="729662" y="417223"/>
                    <a:pt x="704307" y="280833"/>
                  </a:cubicBezTo>
                  <a:cubicBezTo>
                    <a:pt x="683761" y="171108"/>
                    <a:pt x="581031" y="99853"/>
                    <a:pt x="473710" y="121054"/>
                  </a:cubicBezTo>
                  <a:cubicBezTo>
                    <a:pt x="364641" y="142475"/>
                    <a:pt x="296228" y="246298"/>
                    <a:pt x="319834" y="356897"/>
                  </a:cubicBezTo>
                  <a:cubicBezTo>
                    <a:pt x="326391" y="387497"/>
                    <a:pt x="318741" y="410010"/>
                    <a:pt x="296883" y="431212"/>
                  </a:cubicBezTo>
                  <a:cubicBezTo>
                    <a:pt x="240272" y="486512"/>
                    <a:pt x="184754" y="542685"/>
                    <a:pt x="129018" y="599078"/>
                  </a:cubicBezTo>
                  <a:cubicBezTo>
                    <a:pt x="124209" y="603887"/>
                    <a:pt x="118745" y="610881"/>
                    <a:pt x="118526" y="617001"/>
                  </a:cubicBezTo>
                  <a:cubicBezTo>
                    <a:pt x="117433" y="645634"/>
                    <a:pt x="118089" y="674486"/>
                    <a:pt x="118089" y="706398"/>
                  </a:cubicBezTo>
                  <a:close/>
                </a:path>
              </a:pathLst>
            </a:custGeom>
            <a:solidFill>
              <a:srgbClr val="F7941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54853F4B-FF4F-C6B4-1A84-0466B6370D33}"/>
                </a:ext>
              </a:extLst>
            </p:cNvPr>
            <p:cNvSpPr/>
            <p:nvPr/>
          </p:nvSpPr>
          <p:spPr>
            <a:xfrm>
              <a:off x="25267178" y="3838176"/>
              <a:ext cx="169836" cy="170052"/>
            </a:xfrm>
            <a:custGeom>
              <a:avLst/>
              <a:gdLst>
                <a:gd name="connsiteX0" fmla="*/ 0 w 169836"/>
                <a:gd name="connsiteY0" fmla="*/ 84589 h 170052"/>
                <a:gd name="connsiteX1" fmla="*/ 85463 w 169836"/>
                <a:gd name="connsiteY1" fmla="*/ 1 h 170052"/>
                <a:gd name="connsiteX2" fmla="*/ 169833 w 169836"/>
                <a:gd name="connsiteY2" fmla="*/ 85901 h 170052"/>
                <a:gd name="connsiteX3" fmla="*/ 85244 w 169836"/>
                <a:gd name="connsiteY3" fmla="*/ 170052 h 170052"/>
                <a:gd name="connsiteX4" fmla="*/ 218 w 169836"/>
                <a:gd name="connsiteY4" fmla="*/ 84589 h 17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836" h="170052">
                  <a:moveTo>
                    <a:pt x="0" y="84589"/>
                  </a:moveTo>
                  <a:cubicBezTo>
                    <a:pt x="0" y="37159"/>
                    <a:pt x="37813" y="-218"/>
                    <a:pt x="85463" y="1"/>
                  </a:cubicBezTo>
                  <a:cubicBezTo>
                    <a:pt x="132893" y="438"/>
                    <a:pt x="170270" y="38252"/>
                    <a:pt x="169833" y="85901"/>
                  </a:cubicBezTo>
                  <a:cubicBezTo>
                    <a:pt x="169396" y="132020"/>
                    <a:pt x="131363" y="169834"/>
                    <a:pt x="85244" y="170052"/>
                  </a:cubicBezTo>
                  <a:cubicBezTo>
                    <a:pt x="38251" y="170052"/>
                    <a:pt x="0" y="132020"/>
                    <a:pt x="218" y="84589"/>
                  </a:cubicBezTo>
                  <a:close/>
                </a:path>
              </a:pathLst>
            </a:custGeom>
            <a:solidFill>
              <a:srgbClr val="F7941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7" name="Freeform 46">
            <a:extLst>
              <a:ext uri="{FF2B5EF4-FFF2-40B4-BE49-F238E27FC236}">
                <a16:creationId xmlns:a16="http://schemas.microsoft.com/office/drawing/2014/main" id="{E6E2D41A-1719-460D-137A-B347135EE13E}"/>
              </a:ext>
            </a:extLst>
          </p:cNvPr>
          <p:cNvSpPr/>
          <p:nvPr/>
        </p:nvSpPr>
        <p:spPr>
          <a:xfrm>
            <a:off x="16630522" y="7953194"/>
            <a:ext cx="5343756" cy="1039068"/>
          </a:xfrm>
          <a:custGeom>
            <a:avLst/>
            <a:gdLst>
              <a:gd name="connsiteX0" fmla="*/ 0 w 5343756"/>
              <a:gd name="connsiteY0" fmla="*/ 0 h 1039068"/>
              <a:gd name="connsiteX1" fmla="*/ 4962240 w 5343756"/>
              <a:gd name="connsiteY1" fmla="*/ 0 h 1039068"/>
              <a:gd name="connsiteX2" fmla="*/ 5343756 w 5343756"/>
              <a:gd name="connsiteY2" fmla="*/ 519534 h 1039068"/>
              <a:gd name="connsiteX3" fmla="*/ 4962240 w 5343756"/>
              <a:gd name="connsiteY3" fmla="*/ 1039068 h 1039068"/>
              <a:gd name="connsiteX4" fmla="*/ 0 w 5343756"/>
              <a:gd name="connsiteY4" fmla="*/ 1039068 h 1039068"/>
              <a:gd name="connsiteX5" fmla="*/ 421176 w 5343756"/>
              <a:gd name="connsiteY5" fmla="*/ 519534 h 1039068"/>
              <a:gd name="connsiteX6" fmla="*/ 0 w 5343756"/>
              <a:gd name="connsiteY6" fmla="*/ 0 h 103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3756" h="1039068">
                <a:moveTo>
                  <a:pt x="0" y="0"/>
                </a:moveTo>
                <a:lnTo>
                  <a:pt x="4962240" y="0"/>
                </a:lnTo>
                <a:lnTo>
                  <a:pt x="5343756" y="519534"/>
                </a:lnTo>
                <a:lnTo>
                  <a:pt x="4962240" y="1039068"/>
                </a:lnTo>
                <a:lnTo>
                  <a:pt x="0" y="1039068"/>
                </a:lnTo>
                <a:lnTo>
                  <a:pt x="421176" y="51953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BCAE3AB-8373-EDB1-69E5-B80BA3AAEC8D}"/>
              </a:ext>
            </a:extLst>
          </p:cNvPr>
          <p:cNvSpPr txBox="1"/>
          <p:nvPr/>
        </p:nvSpPr>
        <p:spPr>
          <a:xfrm>
            <a:off x="17973685" y="8065375"/>
            <a:ext cx="46199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rovider/bank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7BF8328-74C8-59F1-8344-F0412F9C8B63}"/>
              </a:ext>
            </a:extLst>
          </p:cNvPr>
          <p:cNvGrpSpPr/>
          <p:nvPr/>
        </p:nvGrpSpPr>
        <p:grpSpPr>
          <a:xfrm>
            <a:off x="17111116" y="8065375"/>
            <a:ext cx="825041" cy="824900"/>
            <a:chOff x="24841116" y="3608709"/>
            <a:chExt cx="825041" cy="824900"/>
          </a:xfrm>
          <a:solidFill>
            <a:srgbClr val="583684"/>
          </a:solidFill>
        </p:grpSpPr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BA18C60-7A3B-B503-AD79-5ED44BB83F75}"/>
                </a:ext>
              </a:extLst>
            </p:cNvPr>
            <p:cNvSpPr/>
            <p:nvPr/>
          </p:nvSpPr>
          <p:spPr>
            <a:xfrm>
              <a:off x="24841116" y="3608709"/>
              <a:ext cx="825041" cy="824900"/>
            </a:xfrm>
            <a:custGeom>
              <a:avLst/>
              <a:gdLst>
                <a:gd name="connsiteX0" fmla="*/ 58 w 825041"/>
                <a:gd name="connsiteY0" fmla="*/ 674268 h 824900"/>
                <a:gd name="connsiteX1" fmla="*/ 58 w 825041"/>
                <a:gd name="connsiteY1" fmla="*/ 597111 h 824900"/>
                <a:gd name="connsiteX2" fmla="*/ 26069 w 825041"/>
                <a:gd name="connsiteY2" fmla="*/ 535035 h 824900"/>
                <a:gd name="connsiteX3" fmla="*/ 187814 w 825041"/>
                <a:gd name="connsiteY3" fmla="*/ 374164 h 824900"/>
                <a:gd name="connsiteX4" fmla="*/ 198525 w 825041"/>
                <a:gd name="connsiteY4" fmla="*/ 345312 h 824900"/>
                <a:gd name="connsiteX5" fmla="*/ 441143 w 825041"/>
                <a:gd name="connsiteY5" fmla="*/ 7832 h 824900"/>
                <a:gd name="connsiteX6" fmla="*/ 819933 w 825041"/>
                <a:gd name="connsiteY6" fmla="*/ 256134 h 824900"/>
                <a:gd name="connsiteX7" fmla="*/ 553709 w 825041"/>
                <a:gd name="connsiteY7" fmla="*/ 625088 h 824900"/>
                <a:gd name="connsiteX8" fmla="*/ 475022 w 825041"/>
                <a:gd name="connsiteY8" fmla="*/ 626837 h 824900"/>
                <a:gd name="connsiteX9" fmla="*/ 453601 w 825041"/>
                <a:gd name="connsiteY9" fmla="*/ 636454 h 824900"/>
                <a:gd name="connsiteX10" fmla="*/ 290982 w 825041"/>
                <a:gd name="connsiteY10" fmla="*/ 799074 h 824900"/>
                <a:gd name="connsiteX11" fmla="*/ 228906 w 825041"/>
                <a:gd name="connsiteY11" fmla="*/ 824866 h 824900"/>
                <a:gd name="connsiteX12" fmla="*/ 65194 w 825041"/>
                <a:gd name="connsiteY12" fmla="*/ 824429 h 824900"/>
                <a:gd name="connsiteX13" fmla="*/ 277 w 825041"/>
                <a:gd name="connsiteY13" fmla="*/ 759075 h 824900"/>
                <a:gd name="connsiteX14" fmla="*/ 277 w 825041"/>
                <a:gd name="connsiteY14" fmla="*/ 674486 h 824900"/>
                <a:gd name="connsiteX15" fmla="*/ 117870 w 825041"/>
                <a:gd name="connsiteY15" fmla="*/ 706398 h 824900"/>
                <a:gd name="connsiteX16" fmla="*/ 199180 w 825041"/>
                <a:gd name="connsiteY16" fmla="*/ 705742 h 824900"/>
                <a:gd name="connsiteX17" fmla="*/ 227595 w 825041"/>
                <a:gd name="connsiteY17" fmla="*/ 693939 h 824900"/>
                <a:gd name="connsiteX18" fmla="*/ 395461 w 825041"/>
                <a:gd name="connsiteY18" fmla="*/ 526292 h 824900"/>
                <a:gd name="connsiteX19" fmla="*/ 466935 w 825041"/>
                <a:gd name="connsiteY19" fmla="*/ 505309 h 824900"/>
                <a:gd name="connsiteX20" fmla="*/ 704307 w 825041"/>
                <a:gd name="connsiteY20" fmla="*/ 280833 h 824900"/>
                <a:gd name="connsiteX21" fmla="*/ 473710 w 825041"/>
                <a:gd name="connsiteY21" fmla="*/ 121054 h 824900"/>
                <a:gd name="connsiteX22" fmla="*/ 319834 w 825041"/>
                <a:gd name="connsiteY22" fmla="*/ 356897 h 824900"/>
                <a:gd name="connsiteX23" fmla="*/ 296883 w 825041"/>
                <a:gd name="connsiteY23" fmla="*/ 431212 h 824900"/>
                <a:gd name="connsiteX24" fmla="*/ 129018 w 825041"/>
                <a:gd name="connsiteY24" fmla="*/ 599078 h 824900"/>
                <a:gd name="connsiteX25" fmla="*/ 118526 w 825041"/>
                <a:gd name="connsiteY25" fmla="*/ 617001 h 824900"/>
                <a:gd name="connsiteX26" fmla="*/ 118089 w 825041"/>
                <a:gd name="connsiteY26" fmla="*/ 706398 h 82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25041" h="824900">
                  <a:moveTo>
                    <a:pt x="58" y="674268"/>
                  </a:moveTo>
                  <a:cubicBezTo>
                    <a:pt x="58" y="648476"/>
                    <a:pt x="714" y="622684"/>
                    <a:pt x="58" y="597111"/>
                  </a:cubicBezTo>
                  <a:cubicBezTo>
                    <a:pt x="-816" y="571975"/>
                    <a:pt x="8146" y="552521"/>
                    <a:pt x="26069" y="535035"/>
                  </a:cubicBezTo>
                  <a:cubicBezTo>
                    <a:pt x="80494" y="481922"/>
                    <a:pt x="133608" y="427496"/>
                    <a:pt x="187814" y="374164"/>
                  </a:cubicBezTo>
                  <a:cubicBezTo>
                    <a:pt x="196339" y="365640"/>
                    <a:pt x="199617" y="357552"/>
                    <a:pt x="198525" y="345312"/>
                  </a:cubicBezTo>
                  <a:cubicBezTo>
                    <a:pt x="183006" y="172857"/>
                    <a:pt x="300162" y="40400"/>
                    <a:pt x="441143" y="7832"/>
                  </a:cubicBezTo>
                  <a:cubicBezTo>
                    <a:pt x="613380" y="-31730"/>
                    <a:pt x="789114" y="82804"/>
                    <a:pt x="819933" y="256134"/>
                  </a:cubicBezTo>
                  <a:cubicBezTo>
                    <a:pt x="851845" y="434491"/>
                    <a:pt x="730755" y="602794"/>
                    <a:pt x="553709" y="625088"/>
                  </a:cubicBezTo>
                  <a:cubicBezTo>
                    <a:pt x="527698" y="628367"/>
                    <a:pt x="501251" y="625525"/>
                    <a:pt x="475022" y="626837"/>
                  </a:cubicBezTo>
                  <a:cubicBezTo>
                    <a:pt x="467590" y="627274"/>
                    <a:pt x="458847" y="631208"/>
                    <a:pt x="453601" y="636454"/>
                  </a:cubicBezTo>
                  <a:cubicBezTo>
                    <a:pt x="398958" y="690224"/>
                    <a:pt x="344533" y="744212"/>
                    <a:pt x="290982" y="799074"/>
                  </a:cubicBezTo>
                  <a:cubicBezTo>
                    <a:pt x="273496" y="816997"/>
                    <a:pt x="254261" y="825522"/>
                    <a:pt x="228906" y="824866"/>
                  </a:cubicBezTo>
                  <a:cubicBezTo>
                    <a:pt x="174263" y="823773"/>
                    <a:pt x="119838" y="824866"/>
                    <a:pt x="65194" y="824429"/>
                  </a:cubicBezTo>
                  <a:cubicBezTo>
                    <a:pt x="23883" y="824429"/>
                    <a:pt x="714" y="800822"/>
                    <a:pt x="277" y="759075"/>
                  </a:cubicBezTo>
                  <a:cubicBezTo>
                    <a:pt x="58" y="730879"/>
                    <a:pt x="277" y="702682"/>
                    <a:pt x="277" y="674486"/>
                  </a:cubicBezTo>
                  <a:close/>
                  <a:moveTo>
                    <a:pt x="117870" y="706398"/>
                  </a:moveTo>
                  <a:cubicBezTo>
                    <a:pt x="146504" y="706398"/>
                    <a:pt x="172951" y="707491"/>
                    <a:pt x="199180" y="705742"/>
                  </a:cubicBezTo>
                  <a:cubicBezTo>
                    <a:pt x="209016" y="705087"/>
                    <a:pt x="220601" y="700715"/>
                    <a:pt x="227595" y="693939"/>
                  </a:cubicBezTo>
                  <a:cubicBezTo>
                    <a:pt x="284206" y="638640"/>
                    <a:pt x="340161" y="582903"/>
                    <a:pt x="395461" y="526292"/>
                  </a:cubicBezTo>
                  <a:cubicBezTo>
                    <a:pt x="416007" y="505309"/>
                    <a:pt x="438083" y="498970"/>
                    <a:pt x="466935" y="505309"/>
                  </a:cubicBezTo>
                  <a:cubicBezTo>
                    <a:pt x="605074" y="535691"/>
                    <a:pt x="729662" y="417223"/>
                    <a:pt x="704307" y="280833"/>
                  </a:cubicBezTo>
                  <a:cubicBezTo>
                    <a:pt x="683761" y="171108"/>
                    <a:pt x="581031" y="99853"/>
                    <a:pt x="473710" y="121054"/>
                  </a:cubicBezTo>
                  <a:cubicBezTo>
                    <a:pt x="364641" y="142475"/>
                    <a:pt x="296228" y="246298"/>
                    <a:pt x="319834" y="356897"/>
                  </a:cubicBezTo>
                  <a:cubicBezTo>
                    <a:pt x="326391" y="387497"/>
                    <a:pt x="318741" y="410010"/>
                    <a:pt x="296883" y="431212"/>
                  </a:cubicBezTo>
                  <a:cubicBezTo>
                    <a:pt x="240272" y="486512"/>
                    <a:pt x="184754" y="542685"/>
                    <a:pt x="129018" y="599078"/>
                  </a:cubicBezTo>
                  <a:cubicBezTo>
                    <a:pt x="124209" y="603887"/>
                    <a:pt x="118745" y="610881"/>
                    <a:pt x="118526" y="617001"/>
                  </a:cubicBezTo>
                  <a:cubicBezTo>
                    <a:pt x="117433" y="645634"/>
                    <a:pt x="118089" y="674486"/>
                    <a:pt x="118089" y="70639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8E8D9D0-AA1C-B301-4E53-FBB7278466E5}"/>
                </a:ext>
              </a:extLst>
            </p:cNvPr>
            <p:cNvSpPr/>
            <p:nvPr/>
          </p:nvSpPr>
          <p:spPr>
            <a:xfrm>
              <a:off x="25267178" y="3838176"/>
              <a:ext cx="169836" cy="170052"/>
            </a:xfrm>
            <a:custGeom>
              <a:avLst/>
              <a:gdLst>
                <a:gd name="connsiteX0" fmla="*/ 0 w 169836"/>
                <a:gd name="connsiteY0" fmla="*/ 84589 h 170052"/>
                <a:gd name="connsiteX1" fmla="*/ 85463 w 169836"/>
                <a:gd name="connsiteY1" fmla="*/ 1 h 170052"/>
                <a:gd name="connsiteX2" fmla="*/ 169833 w 169836"/>
                <a:gd name="connsiteY2" fmla="*/ 85901 h 170052"/>
                <a:gd name="connsiteX3" fmla="*/ 85244 w 169836"/>
                <a:gd name="connsiteY3" fmla="*/ 170052 h 170052"/>
                <a:gd name="connsiteX4" fmla="*/ 218 w 169836"/>
                <a:gd name="connsiteY4" fmla="*/ 84589 h 17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836" h="170052">
                  <a:moveTo>
                    <a:pt x="0" y="84589"/>
                  </a:moveTo>
                  <a:cubicBezTo>
                    <a:pt x="0" y="37159"/>
                    <a:pt x="37813" y="-218"/>
                    <a:pt x="85463" y="1"/>
                  </a:cubicBezTo>
                  <a:cubicBezTo>
                    <a:pt x="132893" y="438"/>
                    <a:pt x="170270" y="38252"/>
                    <a:pt x="169833" y="85901"/>
                  </a:cubicBezTo>
                  <a:cubicBezTo>
                    <a:pt x="169396" y="132020"/>
                    <a:pt x="131363" y="169834"/>
                    <a:pt x="85244" y="170052"/>
                  </a:cubicBezTo>
                  <a:cubicBezTo>
                    <a:pt x="38251" y="170052"/>
                    <a:pt x="0" y="132020"/>
                    <a:pt x="218" y="8458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969788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EEE8E34F-4C0A-9658-DA95-B873FBCB5B6A}"/>
              </a:ext>
            </a:extLst>
          </p:cNvPr>
          <p:cNvSpPr/>
          <p:nvPr/>
        </p:nvSpPr>
        <p:spPr>
          <a:xfrm>
            <a:off x="-11177" y="8301039"/>
            <a:ext cx="24393590" cy="5414962"/>
          </a:xfrm>
          <a:prstGeom prst="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 w="762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0375778-DF09-419F-3201-7EFE979D58A8}"/>
              </a:ext>
            </a:extLst>
          </p:cNvPr>
          <p:cNvSpPr/>
          <p:nvPr/>
        </p:nvSpPr>
        <p:spPr>
          <a:xfrm>
            <a:off x="4613252" y="5580449"/>
            <a:ext cx="3049588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Smartphon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F6C61B0-F706-BE12-66D1-97276C6431AD}"/>
              </a:ext>
            </a:extLst>
          </p:cNvPr>
          <p:cNvSpPr/>
          <p:nvPr/>
        </p:nvSpPr>
        <p:spPr>
          <a:xfrm>
            <a:off x="9499877" y="5586736"/>
            <a:ext cx="3690161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Internet acces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5928E86-0B7C-1B6A-E395-907E9B2B5022}"/>
              </a:ext>
            </a:extLst>
          </p:cNvPr>
          <p:cNvSpPr/>
          <p:nvPr/>
        </p:nvSpPr>
        <p:spPr>
          <a:xfrm>
            <a:off x="15035797" y="5571819"/>
            <a:ext cx="1810641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Pen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6ECC6DD-A3BE-9E81-F8F0-104FEA794505}"/>
              </a:ext>
            </a:extLst>
          </p:cNvPr>
          <p:cNvSpPr/>
          <p:nvPr/>
        </p:nvSpPr>
        <p:spPr>
          <a:xfrm>
            <a:off x="18743573" y="5592550"/>
            <a:ext cx="1810641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Pap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C92F75-6947-DDB5-7767-74F61D71D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6</a:t>
            </a:fld>
            <a:endParaRPr lang="lt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643BE7-575E-BE76-36D6-54715F1AD371}"/>
              </a:ext>
            </a:extLst>
          </p:cNvPr>
          <p:cNvSpPr txBox="1"/>
          <p:nvPr/>
        </p:nvSpPr>
        <p:spPr>
          <a:xfrm>
            <a:off x="9868257" y="4464370"/>
            <a:ext cx="46833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583488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Items Requir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4EE9AF0-92B4-1397-67C7-3FADE6BF0B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42042"/>
            <a:ext cx="6645339" cy="506057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2083E0-25DE-6567-A14C-E075C754D0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DF9877B-BCC4-D75E-01FA-77F0B33EA0B3}"/>
              </a:ext>
            </a:extLst>
          </p:cNvPr>
          <p:cNvSpPr txBox="1"/>
          <p:nvPr/>
        </p:nvSpPr>
        <p:spPr>
          <a:xfrm>
            <a:off x="1064528" y="10039201"/>
            <a:ext cx="21364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Download the app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7409E2-4066-6A8C-B2D8-8AB5725CC8F1}"/>
              </a:ext>
            </a:extLst>
          </p:cNvPr>
          <p:cNvSpPr txBox="1"/>
          <p:nvPr/>
        </p:nvSpPr>
        <p:spPr>
          <a:xfrm>
            <a:off x="4430553" y="9875633"/>
            <a:ext cx="31547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reate a new Bitcoin walle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500CF4-9CF8-6C4D-65EA-365B0257186E}"/>
              </a:ext>
            </a:extLst>
          </p:cNvPr>
          <p:cNvSpPr txBox="1"/>
          <p:nvPr/>
        </p:nvSpPr>
        <p:spPr>
          <a:xfrm>
            <a:off x="8306301" y="9875633"/>
            <a:ext cx="39081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ack up the Seed/Signing Key on pap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8742AAB-B0EE-3948-2E5B-85F7F568DBE0}"/>
              </a:ext>
            </a:extLst>
          </p:cNvPr>
          <p:cNvSpPr txBox="1"/>
          <p:nvPr/>
        </p:nvSpPr>
        <p:spPr>
          <a:xfrm>
            <a:off x="12693572" y="9875633"/>
            <a:ext cx="39081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Verify the backup in the application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F8D091-71AF-3EA6-FA7A-FD77F2C8176E}"/>
              </a:ext>
            </a:extLst>
          </p:cNvPr>
          <p:cNvSpPr txBox="1"/>
          <p:nvPr/>
        </p:nvSpPr>
        <p:spPr>
          <a:xfrm>
            <a:off x="17212585" y="9796791"/>
            <a:ext cx="28455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Generate new invoi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4B9DAD5-8D74-B5AE-4B19-92C3B4D9DD28}"/>
              </a:ext>
            </a:extLst>
          </p:cNvPr>
          <p:cNvSpPr txBox="1"/>
          <p:nvPr/>
        </p:nvSpPr>
        <p:spPr>
          <a:xfrm>
            <a:off x="21296021" y="9745663"/>
            <a:ext cx="28787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Receive pay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EEA675-459D-E6C9-C72B-6E00CC909D15}"/>
              </a:ext>
            </a:extLst>
          </p:cNvPr>
          <p:cNvSpPr txBox="1"/>
          <p:nvPr/>
        </p:nvSpPr>
        <p:spPr>
          <a:xfrm>
            <a:off x="1064527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5CA67F5-AFCA-2CE1-0304-2B167466212D}"/>
              </a:ext>
            </a:extLst>
          </p:cNvPr>
          <p:cNvSpPr txBox="1"/>
          <p:nvPr/>
        </p:nvSpPr>
        <p:spPr>
          <a:xfrm>
            <a:off x="4399635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60E008A-2C65-C5B6-0EBA-68149BBDF750}"/>
              </a:ext>
            </a:extLst>
          </p:cNvPr>
          <p:cNvSpPr txBox="1"/>
          <p:nvPr/>
        </p:nvSpPr>
        <p:spPr>
          <a:xfrm>
            <a:off x="8332388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C8262B-CEA2-DC29-CABA-5FC26FCEDC85}"/>
              </a:ext>
            </a:extLst>
          </p:cNvPr>
          <p:cNvSpPr txBox="1"/>
          <p:nvPr/>
        </p:nvSpPr>
        <p:spPr>
          <a:xfrm>
            <a:off x="12698938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ED2391-0557-18DC-B422-BDB731784224}"/>
              </a:ext>
            </a:extLst>
          </p:cNvPr>
          <p:cNvSpPr txBox="1"/>
          <p:nvPr/>
        </p:nvSpPr>
        <p:spPr>
          <a:xfrm>
            <a:off x="17260836" y="8976222"/>
            <a:ext cx="890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5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88E3E14-8BD5-F82B-2D30-DB3EEFE1022B}"/>
              </a:ext>
            </a:extLst>
          </p:cNvPr>
          <p:cNvSpPr txBox="1"/>
          <p:nvPr/>
        </p:nvSpPr>
        <p:spPr>
          <a:xfrm>
            <a:off x="21296021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6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1F24E45-6F0B-657E-CF91-48CADD625F7B}"/>
              </a:ext>
            </a:extLst>
          </p:cNvPr>
          <p:cNvCxnSpPr>
            <a:cxnSpLocks/>
          </p:cNvCxnSpPr>
          <p:nvPr/>
        </p:nvCxnSpPr>
        <p:spPr>
          <a:xfrm>
            <a:off x="1987937" y="9386327"/>
            <a:ext cx="2215458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95DCE6A-E2D2-E00B-1981-B88B489E3733}"/>
              </a:ext>
            </a:extLst>
          </p:cNvPr>
          <p:cNvCxnSpPr>
            <a:cxnSpLocks/>
          </p:cNvCxnSpPr>
          <p:nvPr/>
        </p:nvCxnSpPr>
        <p:spPr>
          <a:xfrm>
            <a:off x="9251794" y="9386327"/>
            <a:ext cx="3303864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5E99A3C-9B9F-627C-3F18-E767EFE2E79C}"/>
              </a:ext>
            </a:extLst>
          </p:cNvPr>
          <p:cNvCxnSpPr>
            <a:cxnSpLocks/>
          </p:cNvCxnSpPr>
          <p:nvPr/>
        </p:nvCxnSpPr>
        <p:spPr>
          <a:xfrm>
            <a:off x="13679204" y="9386327"/>
            <a:ext cx="3426152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00708757-B71E-3AF5-8EDD-F5D48137F30C}"/>
              </a:ext>
            </a:extLst>
          </p:cNvPr>
          <p:cNvSpPr/>
          <p:nvPr/>
        </p:nvSpPr>
        <p:spPr>
          <a:xfrm>
            <a:off x="1927505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3A49BCD-0880-8DC0-10CA-D4F99398606E}"/>
              </a:ext>
            </a:extLst>
          </p:cNvPr>
          <p:cNvSpPr/>
          <p:nvPr/>
        </p:nvSpPr>
        <p:spPr>
          <a:xfrm>
            <a:off x="9244907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9C075D6-8CFF-238E-511A-00A7D621D3E1}"/>
              </a:ext>
            </a:extLst>
          </p:cNvPr>
          <p:cNvSpPr/>
          <p:nvPr/>
        </p:nvSpPr>
        <p:spPr>
          <a:xfrm>
            <a:off x="12364573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0C3E53B-46A4-56F7-E137-572C71E74507}"/>
              </a:ext>
            </a:extLst>
          </p:cNvPr>
          <p:cNvSpPr/>
          <p:nvPr/>
        </p:nvSpPr>
        <p:spPr>
          <a:xfrm>
            <a:off x="13620227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4DF3EEF-442B-9F98-CF40-339ECB54ED04}"/>
              </a:ext>
            </a:extLst>
          </p:cNvPr>
          <p:cNvSpPr/>
          <p:nvPr/>
        </p:nvSpPr>
        <p:spPr>
          <a:xfrm>
            <a:off x="16978686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 descr="Smart Phone">
            <a:extLst>
              <a:ext uri="{FF2B5EF4-FFF2-40B4-BE49-F238E27FC236}">
                <a16:creationId xmlns:a16="http://schemas.microsoft.com/office/drawing/2014/main" id="{7D0ACC40-FB6A-669B-50B0-FF3C4CAE7D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5798" y="5580449"/>
            <a:ext cx="914400" cy="914400"/>
          </a:xfrm>
          <a:prstGeom prst="rect">
            <a:avLst/>
          </a:prstGeom>
        </p:spPr>
      </p:pic>
      <p:pic>
        <p:nvPicPr>
          <p:cNvPr id="20" name="Graphic 19" descr="Wireless">
            <a:extLst>
              <a:ext uri="{FF2B5EF4-FFF2-40B4-BE49-F238E27FC236}">
                <a16:creationId xmlns:a16="http://schemas.microsoft.com/office/drawing/2014/main" id="{000DBA0A-421F-0D8E-57AD-032C6C1D0D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87860" y="5594746"/>
            <a:ext cx="914400" cy="914400"/>
          </a:xfrm>
          <a:prstGeom prst="rect">
            <a:avLst/>
          </a:prstGeom>
        </p:spPr>
      </p:pic>
      <p:pic>
        <p:nvPicPr>
          <p:cNvPr id="35" name="Graphic 34" descr="Pencil">
            <a:extLst>
              <a:ext uri="{FF2B5EF4-FFF2-40B4-BE49-F238E27FC236}">
                <a16:creationId xmlns:a16="http://schemas.microsoft.com/office/drawing/2014/main" id="{E7660A37-10D9-92DF-E377-547B8B1CF3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036279" y="5596985"/>
            <a:ext cx="914400" cy="914400"/>
          </a:xfrm>
          <a:prstGeom prst="rect">
            <a:avLst/>
          </a:prstGeom>
        </p:spPr>
      </p:pic>
      <p:pic>
        <p:nvPicPr>
          <p:cNvPr id="38" name="Graphic 37" descr="Document">
            <a:extLst>
              <a:ext uri="{FF2B5EF4-FFF2-40B4-BE49-F238E27FC236}">
                <a16:creationId xmlns:a16="http://schemas.microsoft.com/office/drawing/2014/main" id="{46D5BBD2-9F3F-4907-D367-BE4F1A501F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796882" y="5614349"/>
            <a:ext cx="914400" cy="914400"/>
          </a:xfrm>
          <a:prstGeom prst="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B3787F2D-5DBC-3AAF-FD98-9EEE6DBA6ED2}"/>
              </a:ext>
            </a:extLst>
          </p:cNvPr>
          <p:cNvSpPr/>
          <p:nvPr/>
        </p:nvSpPr>
        <p:spPr>
          <a:xfrm>
            <a:off x="4049933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30893C-20D6-E208-EF04-11865D154EA1}"/>
              </a:ext>
            </a:extLst>
          </p:cNvPr>
          <p:cNvCxnSpPr>
            <a:cxnSpLocks/>
          </p:cNvCxnSpPr>
          <p:nvPr/>
        </p:nvCxnSpPr>
        <p:spPr>
          <a:xfrm>
            <a:off x="5342321" y="9386327"/>
            <a:ext cx="2765226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261A8C50-E998-3838-1F24-73F3D232FD57}"/>
              </a:ext>
            </a:extLst>
          </p:cNvPr>
          <p:cNvSpPr/>
          <p:nvPr/>
        </p:nvSpPr>
        <p:spPr>
          <a:xfrm>
            <a:off x="5244614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0781E06-B41F-C6A3-A094-AB6EE15C30FC}"/>
              </a:ext>
            </a:extLst>
          </p:cNvPr>
          <p:cNvSpPr/>
          <p:nvPr/>
        </p:nvSpPr>
        <p:spPr>
          <a:xfrm>
            <a:off x="7925752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283C8A1-38B7-3050-825C-46703E93EAC0}"/>
              </a:ext>
            </a:extLst>
          </p:cNvPr>
          <p:cNvCxnSpPr>
            <a:cxnSpLocks/>
          </p:cNvCxnSpPr>
          <p:nvPr/>
        </p:nvCxnSpPr>
        <p:spPr>
          <a:xfrm>
            <a:off x="18150843" y="9386327"/>
            <a:ext cx="3058162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25C13305-61BF-D9D8-3A5F-808D4FFF0D61}"/>
              </a:ext>
            </a:extLst>
          </p:cNvPr>
          <p:cNvSpPr/>
          <p:nvPr/>
        </p:nvSpPr>
        <p:spPr>
          <a:xfrm>
            <a:off x="18101827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80AEAD4C-8074-F0F3-522C-06585D5FBBF5}"/>
              </a:ext>
            </a:extLst>
          </p:cNvPr>
          <p:cNvSpPr/>
          <p:nvPr/>
        </p:nvSpPr>
        <p:spPr>
          <a:xfrm>
            <a:off x="21015715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F7FABB4-99D6-09EC-8F98-6FEF8A8B0CFD}"/>
              </a:ext>
            </a:extLst>
          </p:cNvPr>
          <p:cNvSpPr/>
          <p:nvPr/>
        </p:nvSpPr>
        <p:spPr>
          <a:xfrm>
            <a:off x="2492541" y="1101194"/>
            <a:ext cx="19419722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22CCFC5-6B54-8822-778E-A33E9316AF51}"/>
              </a:ext>
            </a:extLst>
          </p:cNvPr>
          <p:cNvSpPr/>
          <p:nvPr/>
        </p:nvSpPr>
        <p:spPr>
          <a:xfrm>
            <a:off x="6634163" y="2550852"/>
            <a:ext cx="11162719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DA90EB-749E-D588-BF8A-0DF8BF748BC6}"/>
              </a:ext>
            </a:extLst>
          </p:cNvPr>
          <p:cNvSpPr txBox="1"/>
          <p:nvPr/>
        </p:nvSpPr>
        <p:spPr>
          <a:xfrm>
            <a:off x="2777359" y="861410"/>
            <a:ext cx="1885008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How to Create a Bitcoin Wallet</a:t>
            </a: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 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and use Lightning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4552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7</a:t>
            </a:fld>
            <a:endParaRPr lang="lt-LT"/>
          </a:p>
        </p:txBody>
      </p:sp>
      <p:pic>
        <p:nvPicPr>
          <p:cNvPr id="4" name="Compressed - Slide 17">
            <a:hlinkClick r:id="" action="ppaction://media"/>
            <a:extLst>
              <a:ext uri="{FF2B5EF4-FFF2-40B4-BE49-F238E27FC236}">
                <a16:creationId xmlns:a16="http://schemas.microsoft.com/office/drawing/2014/main" id="{21183CF8-E0C2-BC38-FA36-9C76DD7A828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-10285"/>
            <a:ext cx="24382411" cy="13736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637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462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par>
              <p:cTn id="7"/>
            </p:par>
            <p:video>
              <p:cMediaNode vol="80000">
                <p:cTn id="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EA7A220-72ED-C010-71A4-88A7A70E1E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9270" y="794083"/>
            <a:ext cx="24386339" cy="1371731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9810347-9883-AA74-D8BA-AB0DC6CC2094}"/>
              </a:ext>
            </a:extLst>
          </p:cNvPr>
          <p:cNvSpPr/>
          <p:nvPr/>
        </p:nvSpPr>
        <p:spPr>
          <a:xfrm>
            <a:off x="-11178" y="0"/>
            <a:ext cx="24404767" cy="4760259"/>
          </a:xfrm>
          <a:prstGeom prst="rect">
            <a:avLst/>
          </a:prstGeom>
          <a:gradFill>
            <a:gsLst>
              <a:gs pos="0">
                <a:srgbClr val="2B1C58">
                  <a:alpha val="0"/>
                </a:srgbClr>
              </a:gs>
              <a:gs pos="69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C336CC-C104-1BA9-E817-32E6FEB82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8</a:t>
            </a:fld>
            <a:endParaRPr lang="lt-LT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7355E8-521B-BB22-2C17-3CF41F724AC0}"/>
              </a:ext>
            </a:extLst>
          </p:cNvPr>
          <p:cNvSpPr/>
          <p:nvPr/>
        </p:nvSpPr>
        <p:spPr>
          <a:xfrm>
            <a:off x="15595035" y="9048307"/>
            <a:ext cx="3134290" cy="3067918"/>
          </a:xfrm>
          <a:prstGeom prst="rect">
            <a:avLst/>
          </a:prstGeom>
          <a:solidFill>
            <a:schemeClr val="bg1"/>
          </a:solidFill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184AED-53B7-0544-F48E-98188070CC1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99800" y="9134254"/>
            <a:ext cx="2907924" cy="29079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CAF3EEB-7B62-CFA3-E7AA-888295C84D9B}"/>
              </a:ext>
            </a:extLst>
          </p:cNvPr>
          <p:cNvSpPr txBox="1"/>
          <p:nvPr/>
        </p:nvSpPr>
        <p:spPr>
          <a:xfrm>
            <a:off x="7778533" y="864788"/>
            <a:ext cx="1135560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asily find places to spend </a:t>
            </a:r>
            <a:r>
              <a:rPr lang="en-US" sz="60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sats</a:t>
            </a:r>
            <a:r>
              <a:rPr lang="en-US" sz="60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anywhere on the plane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3D3B689-FC2E-F3E5-B998-F10253696848}"/>
              </a:ext>
            </a:extLst>
          </p:cNvPr>
          <p:cNvSpPr txBox="1"/>
          <p:nvPr/>
        </p:nvSpPr>
        <p:spPr>
          <a:xfrm>
            <a:off x="14737824" y="12167250"/>
            <a:ext cx="48487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36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tcmap.org</a:t>
            </a:r>
            <a:endParaRPr lang="en-US" sz="3600" dirty="0">
              <a:solidFill>
                <a:schemeClr val="bg1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" name="AutoShape 2" descr="logo">
            <a:extLst>
              <a:ext uri="{FF2B5EF4-FFF2-40B4-BE49-F238E27FC236}">
                <a16:creationId xmlns:a16="http://schemas.microsoft.com/office/drawing/2014/main" id="{4207646C-EF3B-8AE9-4A2C-68F8BED08DB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038013" y="6705600"/>
            <a:ext cx="1595438" cy="159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161FACE-B080-715A-94AD-C10C6C8E3A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51955" y="864788"/>
            <a:ext cx="1660150" cy="2141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6289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25537178-39C8-972B-24A2-E3035DD964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2801CE4-8DF8-C0C1-E261-D0A95C6CD953}"/>
              </a:ext>
            </a:extLst>
          </p:cNvPr>
          <p:cNvSpPr/>
          <p:nvPr/>
        </p:nvSpPr>
        <p:spPr>
          <a:xfrm>
            <a:off x="8113086" y="3640599"/>
            <a:ext cx="12499975" cy="2116928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DA84D2F0-117A-3134-38CD-CD3C31FB761F}"/>
              </a:ext>
            </a:extLst>
          </p:cNvPr>
          <p:cNvSpPr/>
          <p:nvPr/>
        </p:nvSpPr>
        <p:spPr>
          <a:xfrm>
            <a:off x="8113086" y="6528178"/>
            <a:ext cx="12499975" cy="2116928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56A1F624-E52F-57C8-A720-E8EE58217829}"/>
              </a:ext>
            </a:extLst>
          </p:cNvPr>
          <p:cNvSpPr/>
          <p:nvPr/>
        </p:nvSpPr>
        <p:spPr>
          <a:xfrm>
            <a:off x="8113086" y="9439820"/>
            <a:ext cx="12499975" cy="2116928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3FC212-3A1D-74FE-B3C7-D625ADC3C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9</a:t>
            </a:fld>
            <a:endParaRPr lang="lt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5ED23F-92E1-2D45-1C55-BA0FAAEC0B17}"/>
              </a:ext>
            </a:extLst>
          </p:cNvPr>
          <p:cNvSpPr txBox="1"/>
          <p:nvPr/>
        </p:nvSpPr>
        <p:spPr>
          <a:xfrm>
            <a:off x="8024812" y="954465"/>
            <a:ext cx="83343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Key Points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C533BA-1C95-DEBA-FF9E-242918C4C61B}"/>
              </a:ext>
            </a:extLst>
          </p:cNvPr>
          <p:cNvSpPr txBox="1"/>
          <p:nvPr/>
        </p:nvSpPr>
        <p:spPr>
          <a:xfrm>
            <a:off x="8736139" y="4320088"/>
            <a:ext cx="125706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iat money is broken</a:t>
            </a:r>
            <a:endParaRPr lang="en-US" sz="4400" dirty="0">
              <a:solidFill>
                <a:srgbClr val="583684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0ABCEC-FFBC-41E8-0CEC-C513D4213802}"/>
              </a:ext>
            </a:extLst>
          </p:cNvPr>
          <p:cNvSpPr txBox="1"/>
          <p:nvPr/>
        </p:nvSpPr>
        <p:spPr>
          <a:xfrm>
            <a:off x="8736139" y="6872638"/>
            <a:ext cx="1026059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ut since 2009 we have an alternative: Bitcoin</a:t>
            </a:r>
            <a:endParaRPr lang="en-US" sz="4400" dirty="0">
              <a:solidFill>
                <a:srgbClr val="583684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E1F9F7A-1DC8-9E71-B84C-2135D967E207}"/>
              </a:ext>
            </a:extLst>
          </p:cNvPr>
          <p:cNvSpPr txBox="1"/>
          <p:nvPr/>
        </p:nvSpPr>
        <p:spPr>
          <a:xfrm>
            <a:off x="8736138" y="9775009"/>
            <a:ext cx="1113352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5E378E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Using it is a simple as downloading a wallet and saving in bitcoin instead.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BA2D0CB-A67B-08CF-4538-E45619E13895}"/>
              </a:ext>
            </a:extLst>
          </p:cNvPr>
          <p:cNvSpPr/>
          <p:nvPr/>
        </p:nvSpPr>
        <p:spPr>
          <a:xfrm>
            <a:off x="5336549" y="3640599"/>
            <a:ext cx="2595228" cy="2116928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3CA0D32-B334-A6CC-6C4B-13E3E097D1A2}"/>
              </a:ext>
            </a:extLst>
          </p:cNvPr>
          <p:cNvSpPr/>
          <p:nvPr/>
        </p:nvSpPr>
        <p:spPr>
          <a:xfrm>
            <a:off x="5336549" y="6552241"/>
            <a:ext cx="2595228" cy="2116928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83B32244-ED7F-5DBF-B31F-FF5A96879940}"/>
              </a:ext>
            </a:extLst>
          </p:cNvPr>
          <p:cNvSpPr/>
          <p:nvPr/>
        </p:nvSpPr>
        <p:spPr>
          <a:xfrm>
            <a:off x="5336549" y="9415757"/>
            <a:ext cx="2595228" cy="2116928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4056CF-B9F1-A813-D3A7-DE9D49157B9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682" y="3873582"/>
            <a:ext cx="1650962" cy="16509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96769D1-7209-07A2-E750-DEB64DA1EAA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0888" y="6887430"/>
            <a:ext cx="1446550" cy="14465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8FCF3D-22D1-A02E-AD35-75BA50F8000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8196" y="9649626"/>
            <a:ext cx="1571933" cy="157193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51BD3AF-5721-2B1B-7938-30BF9D3154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E708643-520C-D6B2-9D84-0C16670D9AC7}"/>
              </a:ext>
            </a:extLst>
          </p:cNvPr>
          <p:cNvSpPr txBox="1"/>
          <p:nvPr/>
        </p:nvSpPr>
        <p:spPr>
          <a:xfrm>
            <a:off x="3324484" y="3914233"/>
            <a:ext cx="2237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7941F"/>
                </a:solidFill>
                <a:latin typeface="Ubuntu Light" panose="020B0304030602030204" pitchFamily="34" charset="0"/>
              </a:rPr>
              <a:t>0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BEA749-D2F8-4228-0D74-D1A71A7DB5FB}"/>
              </a:ext>
            </a:extLst>
          </p:cNvPr>
          <p:cNvSpPr txBox="1"/>
          <p:nvPr/>
        </p:nvSpPr>
        <p:spPr>
          <a:xfrm>
            <a:off x="3324484" y="6801812"/>
            <a:ext cx="2237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7941F"/>
                </a:solidFill>
                <a:latin typeface="Ubuntu Light" panose="020B0304030602030204" pitchFamily="34" charset="0"/>
              </a:rPr>
              <a:t>0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AC058DC-58F0-DFDC-56A8-96C2E3440AE5}"/>
              </a:ext>
            </a:extLst>
          </p:cNvPr>
          <p:cNvSpPr txBox="1"/>
          <p:nvPr/>
        </p:nvSpPr>
        <p:spPr>
          <a:xfrm>
            <a:off x="3324484" y="9611331"/>
            <a:ext cx="2237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7941F"/>
                </a:solidFill>
                <a:latin typeface="Ubuntu Light" panose="020B0304030602030204" pitchFamily="34" charset="0"/>
              </a:rPr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953287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69F6C77-3D6F-80D0-2D6C-DCC6C13276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53EFAC54-8C92-4C08-2690-D4ACD0327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alphaModFix amt="1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68538" y="0"/>
            <a:ext cx="9413875" cy="644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8D97E1-E07C-7C02-653C-72B4789C43B0}"/>
              </a:ext>
            </a:extLst>
          </p:cNvPr>
          <p:cNvSpPr/>
          <p:nvPr/>
        </p:nvSpPr>
        <p:spPr>
          <a:xfrm>
            <a:off x="12730727" y="5413375"/>
            <a:ext cx="10603934" cy="644454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BDE9C1A-B015-500E-0E7C-9254BF9DA8E0}"/>
              </a:ext>
            </a:extLst>
          </p:cNvPr>
          <p:cNvSpPr/>
          <p:nvPr/>
        </p:nvSpPr>
        <p:spPr>
          <a:xfrm>
            <a:off x="1079501" y="5413375"/>
            <a:ext cx="10603934" cy="6452097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ECAD79-6FF2-CBF7-09D9-5374CAF57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</a:t>
            </a:fld>
            <a:endParaRPr lang="lt-L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854945-88DC-F1E8-3283-5D3F3BF8040C}"/>
              </a:ext>
            </a:extLst>
          </p:cNvPr>
          <p:cNvSpPr txBox="1"/>
          <p:nvPr/>
        </p:nvSpPr>
        <p:spPr>
          <a:xfrm>
            <a:off x="1774031" y="6813344"/>
            <a:ext cx="9622515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i="1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It is well enough that people of the nation do not understand our banking and monetary system, for if they did, I believe there would be a revolution before tomorrow morning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B8149E-68C5-D1D7-27D7-8CB9BADDB7DB}"/>
              </a:ext>
            </a:extLst>
          </p:cNvPr>
          <p:cNvSpPr txBox="1"/>
          <p:nvPr/>
        </p:nvSpPr>
        <p:spPr>
          <a:xfrm>
            <a:off x="13747827" y="6813344"/>
            <a:ext cx="856973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i="1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Money is the most marketable good which people acquire because they want to offer it in later acts of interpersonal exchan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A0958F-B131-6A04-89D9-FB02F5053C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9791334E-144C-C359-465B-9B997C9C90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7913" y="-2098308"/>
            <a:ext cx="952500" cy="9525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BE9865F-07E7-BBD6-6AC9-0DC4F48CB4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74032" y="5683046"/>
            <a:ext cx="952500" cy="9525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F24FDA0E-6C30-5BC6-1274-D83198CE91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749722" y="5683046"/>
            <a:ext cx="952500" cy="9525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2BDB621-2F18-6DED-920A-5A2EC4908347}"/>
              </a:ext>
            </a:extLst>
          </p:cNvPr>
          <p:cNvSpPr txBox="1"/>
          <p:nvPr/>
        </p:nvSpPr>
        <p:spPr>
          <a:xfrm>
            <a:off x="13747827" y="10449919"/>
            <a:ext cx="83343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0" i="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Ludwig von Mises</a:t>
            </a:r>
            <a:endParaRPr lang="en-US" sz="4400" dirty="0">
              <a:solidFill>
                <a:srgbClr val="F7941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558E71-01E1-B169-B707-E7AB527D3ECF}"/>
              </a:ext>
            </a:extLst>
          </p:cNvPr>
          <p:cNvSpPr txBox="1"/>
          <p:nvPr/>
        </p:nvSpPr>
        <p:spPr>
          <a:xfrm>
            <a:off x="1774032" y="10420847"/>
            <a:ext cx="83343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enry Ford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5B278C4-432A-110E-5E9D-0B02DE013DC9}"/>
              </a:ext>
            </a:extLst>
          </p:cNvPr>
          <p:cNvSpPr/>
          <p:nvPr/>
        </p:nvSpPr>
        <p:spPr>
          <a:xfrm>
            <a:off x="9425071" y="2549046"/>
            <a:ext cx="5530684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E07AC8-ABFD-57A3-A947-12F172E7B5CD}"/>
              </a:ext>
            </a:extLst>
          </p:cNvPr>
          <p:cNvSpPr txBox="1"/>
          <p:nvPr/>
        </p:nvSpPr>
        <p:spPr>
          <a:xfrm>
            <a:off x="6554030" y="900171"/>
            <a:ext cx="112727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Understanding 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Money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5600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C4DF809-87AE-9FCB-FF07-3E2F7DEA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6E2D957-9706-225C-1947-AFF2EB7AA6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926DA-4458-DD94-DAE2-7ACA0356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0</a:t>
            </a:fld>
            <a:endParaRPr lang="lt-L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A5FB4A-5807-5EBA-6162-B4BD8F8DDA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8563" y="3885550"/>
            <a:ext cx="5580280" cy="7221538"/>
          </a:xfrm>
          <a:prstGeom prst="rect">
            <a:avLst/>
          </a:prstGeom>
          <a:ln w="41275">
            <a:noFill/>
          </a:ln>
          <a:effectLst>
            <a:glow rad="867059">
              <a:schemeClr val="accent6">
                <a:satMod val="175000"/>
                <a:alpha val="6721"/>
              </a:schemeClr>
            </a:glow>
            <a:reflection blurRad="6350" stA="52000" endA="300" endPos="35000" dir="5400000" sy="-100000" algn="bl" rotWithShape="0"/>
            <a:softEdge rad="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DF3CC3-6DD1-E4EB-2C17-D5A4A209F048}"/>
              </a:ext>
            </a:extLst>
          </p:cNvPr>
          <p:cNvSpPr txBox="1"/>
          <p:nvPr/>
        </p:nvSpPr>
        <p:spPr>
          <a:xfrm>
            <a:off x="10704555" y="3420734"/>
            <a:ext cx="10190816" cy="5316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ree and Open Sourc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Impartial &amp; Independent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igh-Quality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58C332-ACC4-8BEC-85DA-CB23B1400A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3676" y="3843419"/>
            <a:ext cx="952500" cy="9525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A4FEEC5-8612-2495-5AA9-E89B0935AD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3676" y="5107443"/>
            <a:ext cx="952500" cy="9525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5AD4D67-19FD-AC7D-BA99-EE42990FF3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3676" y="6344572"/>
            <a:ext cx="952500" cy="9525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9F976B-928B-535F-6BEF-86F3DEA6AE32}"/>
              </a:ext>
            </a:extLst>
          </p:cNvPr>
          <p:cNvSpPr/>
          <p:nvPr/>
        </p:nvSpPr>
        <p:spPr>
          <a:xfrm>
            <a:off x="19643507" y="9040633"/>
            <a:ext cx="3610603" cy="3594280"/>
          </a:xfrm>
          <a:prstGeom prst="rect">
            <a:avLst/>
          </a:prstGeom>
          <a:solidFill>
            <a:schemeClr val="bg1"/>
          </a:solidFill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67C603-48C5-0F8F-3CFE-3AF90973FC9B}"/>
              </a:ext>
            </a:extLst>
          </p:cNvPr>
          <p:cNvSpPr txBox="1"/>
          <p:nvPr/>
        </p:nvSpPr>
        <p:spPr>
          <a:xfrm>
            <a:off x="10266175" y="10642272"/>
            <a:ext cx="109689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u="sng" strike="noStrike" dirty="0">
                <a:solidFill>
                  <a:srgbClr val="E6E3D7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MyFirstBitcoin</a:t>
            </a:r>
            <a:r>
              <a:rPr lang="en-US" sz="4400" u="none" strike="noStrike" dirty="0">
                <a:solidFill>
                  <a:srgbClr val="E6E3D7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endParaRPr lang="en-US" sz="88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C30FE9-2070-1FE3-58BF-4D117E09EA7F}"/>
              </a:ext>
            </a:extLst>
          </p:cNvPr>
          <p:cNvSpPr txBox="1"/>
          <p:nvPr/>
        </p:nvSpPr>
        <p:spPr>
          <a:xfrm>
            <a:off x="10266176" y="9576191"/>
            <a:ext cx="7621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44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yfirstbitcoin.io</a:t>
            </a:r>
            <a:endParaRPr lang="en-US" sz="44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BB7D6D2B-A58C-7F97-E481-D781ECDD4A57}"/>
              </a:ext>
            </a:extLst>
          </p:cNvPr>
          <p:cNvSpPr/>
          <p:nvPr/>
        </p:nvSpPr>
        <p:spPr>
          <a:xfrm>
            <a:off x="9412289" y="9779564"/>
            <a:ext cx="557212" cy="385657"/>
          </a:xfrm>
          <a:prstGeom prst="homePlat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4657FDF3-9305-94A4-BE76-19B173EE8452}"/>
              </a:ext>
            </a:extLst>
          </p:cNvPr>
          <p:cNvSpPr/>
          <p:nvPr/>
        </p:nvSpPr>
        <p:spPr>
          <a:xfrm>
            <a:off x="9412289" y="10849144"/>
            <a:ext cx="557212" cy="385657"/>
          </a:xfrm>
          <a:prstGeom prst="homePlat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597646D-AC95-CCE7-2D2D-CD6CD84BB2A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65609" y="9258493"/>
            <a:ext cx="3158559" cy="3158559"/>
          </a:xfrm>
          <a:prstGeom prst="rect">
            <a:avLst/>
          </a:pr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DC3B2D7-02FB-404D-510B-1D544B2D9492}"/>
              </a:ext>
            </a:extLst>
          </p:cNvPr>
          <p:cNvSpPr/>
          <p:nvPr/>
        </p:nvSpPr>
        <p:spPr>
          <a:xfrm>
            <a:off x="7002966" y="1094606"/>
            <a:ext cx="10415239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D1478C-79F0-38BF-C92C-F7D4DD6EB19E}"/>
              </a:ext>
            </a:extLst>
          </p:cNvPr>
          <p:cNvSpPr txBox="1"/>
          <p:nvPr/>
        </p:nvSpPr>
        <p:spPr>
          <a:xfrm>
            <a:off x="7384532" y="948091"/>
            <a:ext cx="961493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Diploma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7203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02D6C2A-B1AB-FF42-3DB2-0F0F8E5627AC}"/>
              </a:ext>
            </a:extLst>
          </p:cNvPr>
          <p:cNvSpPr/>
          <p:nvPr/>
        </p:nvSpPr>
        <p:spPr>
          <a:xfrm>
            <a:off x="1046163" y="3616201"/>
            <a:ext cx="6977062" cy="7574087"/>
          </a:xfrm>
          <a:prstGeom prst="roundRect">
            <a:avLst>
              <a:gd name="adj" fmla="val 9022"/>
            </a:avLst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C4DF809-87AE-9FCB-FF07-3E2F7DEA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6E2D957-9706-225C-1947-AFF2EB7AA6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926DA-4458-DD94-DAE2-7ACA0356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1</a:t>
            </a:fld>
            <a:endParaRPr lang="lt-LT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6E6DE3-1190-B3A6-5611-CAD5B799CAA1}"/>
              </a:ext>
            </a:extLst>
          </p:cNvPr>
          <p:cNvSpPr/>
          <p:nvPr/>
        </p:nvSpPr>
        <p:spPr>
          <a:xfrm>
            <a:off x="6634163" y="1079500"/>
            <a:ext cx="11112500" cy="1444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D1478C-79F0-38BF-C92C-F7D4DD6EB19E}"/>
              </a:ext>
            </a:extLst>
          </p:cNvPr>
          <p:cNvSpPr txBox="1"/>
          <p:nvPr/>
        </p:nvSpPr>
        <p:spPr>
          <a:xfrm>
            <a:off x="6717840" y="1016982"/>
            <a:ext cx="1096894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583488"/>
                </a:solidFill>
                <a:effectLst/>
                <a:latin typeface="Ubuntu" panose="020B0304030602030204" pitchFamily="34" charset="0"/>
              </a:rPr>
              <a:t>Online Courses</a:t>
            </a:r>
            <a:endParaRPr lang="en-US" sz="9600" b="1" dirty="0">
              <a:solidFill>
                <a:srgbClr val="583488"/>
              </a:solidFill>
              <a:latin typeface="Ubuntu" panose="020B03040306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C30FE9-2070-1FE3-58BF-4D117E09EA7F}"/>
              </a:ext>
            </a:extLst>
          </p:cNvPr>
          <p:cNvSpPr txBox="1"/>
          <p:nvPr/>
        </p:nvSpPr>
        <p:spPr>
          <a:xfrm>
            <a:off x="7164939" y="11998677"/>
            <a:ext cx="100509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4400" dirty="0" err="1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du.myfirstbitcoin.io</a:t>
            </a:r>
            <a:r>
              <a:rPr lang="en-US" sz="440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/cours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42C9EED-C0E3-6994-A17E-7B58119B5E4A}"/>
              </a:ext>
            </a:extLst>
          </p:cNvPr>
          <p:cNvSpPr/>
          <p:nvPr/>
        </p:nvSpPr>
        <p:spPr>
          <a:xfrm>
            <a:off x="1420268" y="3942737"/>
            <a:ext cx="6228853" cy="5179585"/>
          </a:xfrm>
          <a:prstGeom prst="roundRect">
            <a:avLst>
              <a:gd name="adj" fmla="val 9122"/>
            </a:avLst>
          </a:prstGeom>
          <a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5C6EFA-F348-CEBB-3FD3-D1B689844A27}"/>
              </a:ext>
            </a:extLst>
          </p:cNvPr>
          <p:cNvSpPr txBox="1"/>
          <p:nvPr/>
        </p:nvSpPr>
        <p:spPr>
          <a:xfrm>
            <a:off x="1728944" y="9428649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Diploma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7BAA27-25D4-52CE-069A-62D6F6D9474B}"/>
              </a:ext>
            </a:extLst>
          </p:cNvPr>
          <p:cNvSpPr txBox="1"/>
          <p:nvPr/>
        </p:nvSpPr>
        <p:spPr>
          <a:xfrm>
            <a:off x="1728944" y="10119514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Free</a:t>
            </a:r>
            <a:endParaRPr lang="en-US" sz="4400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7697E55-2CBC-2B39-705A-DF481576FCC2}"/>
              </a:ext>
            </a:extLst>
          </p:cNvPr>
          <p:cNvSpPr/>
          <p:nvPr/>
        </p:nvSpPr>
        <p:spPr>
          <a:xfrm>
            <a:off x="8706006" y="3616201"/>
            <a:ext cx="6977062" cy="7574087"/>
          </a:xfrm>
          <a:prstGeom prst="roundRect">
            <a:avLst>
              <a:gd name="adj" fmla="val 9022"/>
            </a:avLst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13EB55-F799-3D8C-13F0-E3396853ED2E}"/>
              </a:ext>
            </a:extLst>
          </p:cNvPr>
          <p:cNvSpPr txBox="1"/>
          <p:nvPr/>
        </p:nvSpPr>
        <p:spPr>
          <a:xfrm>
            <a:off x="8852316" y="9428649"/>
            <a:ext cx="668540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Ubuntu" panose="020B0304030602030204" pitchFamily="34" charset="0"/>
              </a:rPr>
              <a:t>Instructor Onboard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993FAE-94DC-DA3F-64B9-DA8FEF0B907D}"/>
              </a:ext>
            </a:extLst>
          </p:cNvPr>
          <p:cNvSpPr txBox="1"/>
          <p:nvPr/>
        </p:nvSpPr>
        <p:spPr>
          <a:xfrm>
            <a:off x="9388787" y="10119514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Free</a:t>
            </a:r>
            <a:endParaRPr lang="en-US" sz="4400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1BA6EA5E-EC89-CCB8-80D8-4A1FA9F22414}"/>
              </a:ext>
            </a:extLst>
          </p:cNvPr>
          <p:cNvSpPr/>
          <p:nvPr/>
        </p:nvSpPr>
        <p:spPr>
          <a:xfrm>
            <a:off x="16309964" y="3616201"/>
            <a:ext cx="6977062" cy="7574087"/>
          </a:xfrm>
          <a:prstGeom prst="roundRect">
            <a:avLst>
              <a:gd name="adj" fmla="val 9022"/>
            </a:avLst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E6AE974A-80F2-C98D-D80D-DB825FAFD8D2}"/>
              </a:ext>
            </a:extLst>
          </p:cNvPr>
          <p:cNvSpPr/>
          <p:nvPr/>
        </p:nvSpPr>
        <p:spPr>
          <a:xfrm>
            <a:off x="16684069" y="3942737"/>
            <a:ext cx="6228853" cy="5179585"/>
          </a:xfrm>
          <a:prstGeom prst="roundRect">
            <a:avLst>
              <a:gd name="adj" fmla="val 9122"/>
            </a:avLst>
          </a:prstGeom>
          <a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AC30E57-75EB-A72E-1483-4B94085A184D}"/>
              </a:ext>
            </a:extLst>
          </p:cNvPr>
          <p:cNvSpPr txBox="1"/>
          <p:nvPr/>
        </p:nvSpPr>
        <p:spPr>
          <a:xfrm>
            <a:off x="16859597" y="9428649"/>
            <a:ext cx="59625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for Beginners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8E5479-10F8-3CD1-DE55-2DB106084EF2}"/>
              </a:ext>
            </a:extLst>
          </p:cNvPr>
          <p:cNvSpPr txBox="1"/>
          <p:nvPr/>
        </p:nvSpPr>
        <p:spPr>
          <a:xfrm>
            <a:off x="16992745" y="10119514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Free</a:t>
            </a:r>
            <a:endParaRPr lang="en-US" sz="4400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21EAE3-4A50-1DC2-9E51-B729A99EB5F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09"/>
          <a:stretch/>
        </p:blipFill>
        <p:spPr>
          <a:xfrm>
            <a:off x="9076213" y="3963311"/>
            <a:ext cx="6252200" cy="5138435"/>
          </a:xfrm>
          <a:prstGeom prst="roundRect">
            <a:avLst>
              <a:gd name="adj" fmla="val 8454"/>
            </a:avLst>
          </a:prstGeom>
        </p:spPr>
      </p:pic>
    </p:spTree>
    <p:extLst>
      <p:ext uri="{BB962C8B-B14F-4D97-AF65-F5344CB8AC3E}">
        <p14:creationId xmlns:p14="http://schemas.microsoft.com/office/powerpoint/2010/main" val="25233164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C4DF809-87AE-9FCB-FF07-3E2F7DEA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6E2D957-9706-225C-1947-AFF2EB7AA6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926DA-4458-DD94-DAE2-7ACA0356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2</a:t>
            </a:fld>
            <a:endParaRPr lang="lt-LT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DF3CC3-6DD1-E4EB-2C17-D5A4A209F048}"/>
              </a:ext>
            </a:extLst>
          </p:cNvPr>
          <p:cNvSpPr txBox="1"/>
          <p:nvPr/>
        </p:nvSpPr>
        <p:spPr>
          <a:xfrm>
            <a:off x="13579475" y="4723606"/>
            <a:ext cx="10190816" cy="5316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arn Bitcoin for learning mor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Like Duolingo for Bitcoin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ree to us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D1478C-79F0-38BF-C92C-F7D4DD6EB19E}"/>
              </a:ext>
            </a:extLst>
          </p:cNvPr>
          <p:cNvSpPr txBox="1"/>
          <p:nvPr/>
        </p:nvSpPr>
        <p:spPr>
          <a:xfrm>
            <a:off x="5796710" y="896231"/>
            <a:ext cx="127874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Learning App 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- YZER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58C332-ACC4-8BEC-85DA-CB23B1400A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91801" y="5196657"/>
            <a:ext cx="952500" cy="9525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A4FEEC5-8612-2495-5AA9-E89B0935AD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91801" y="6460681"/>
            <a:ext cx="952500" cy="9525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5AD4D67-19FD-AC7D-BA99-EE42990FF3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91801" y="7697810"/>
            <a:ext cx="952500" cy="9525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9F976B-928B-535F-6BEF-86F3DEA6AE32}"/>
              </a:ext>
            </a:extLst>
          </p:cNvPr>
          <p:cNvSpPr/>
          <p:nvPr/>
        </p:nvSpPr>
        <p:spPr>
          <a:xfrm>
            <a:off x="19134139" y="8562435"/>
            <a:ext cx="4094052" cy="3981798"/>
          </a:xfrm>
          <a:prstGeom prst="rect">
            <a:avLst/>
          </a:prstGeom>
          <a:solidFill>
            <a:schemeClr val="bg1"/>
          </a:solidFill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C30FE9-2070-1FE3-58BF-4D117E09EA7F}"/>
              </a:ext>
            </a:extLst>
          </p:cNvPr>
          <p:cNvSpPr txBox="1"/>
          <p:nvPr/>
        </p:nvSpPr>
        <p:spPr>
          <a:xfrm>
            <a:off x="13044301" y="9337862"/>
            <a:ext cx="7621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44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yzer.io</a:t>
            </a:r>
            <a:endParaRPr lang="en-US" sz="44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4657FDF3-9305-94A4-BE76-19B173EE8452}"/>
              </a:ext>
            </a:extLst>
          </p:cNvPr>
          <p:cNvSpPr/>
          <p:nvPr/>
        </p:nvSpPr>
        <p:spPr>
          <a:xfrm>
            <a:off x="12190414" y="9525632"/>
            <a:ext cx="557212" cy="385657"/>
          </a:xfrm>
          <a:prstGeom prst="homePlat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4A47338D-770D-7318-4BF2-C74515D22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691" y="3968750"/>
            <a:ext cx="5870251" cy="8101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6D81CB-4D58-D534-DB76-EB1B538E2EB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94039" y="8787248"/>
            <a:ext cx="3650611" cy="3650611"/>
          </a:xfrm>
          <a:prstGeom prst="rect">
            <a:avLst/>
          </a:prstGeom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6A0211E3-0B8A-1EF4-5494-03AD2F4C6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67328" y="3968750"/>
            <a:ext cx="5870251" cy="7532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BB8BF392-ABA3-220F-D26F-FC7E8DA5E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9585" y="4258592"/>
            <a:ext cx="3687195" cy="7360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8064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>
            <a:extLst>
              <a:ext uri="{FF2B5EF4-FFF2-40B4-BE49-F238E27FC236}">
                <a16:creationId xmlns:a16="http://schemas.microsoft.com/office/drawing/2014/main" id="{903E07D9-9577-1481-66AB-7A7DB6DFD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alphaModFix amt="16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68538" y="0"/>
            <a:ext cx="9413875" cy="644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B0700846-45A9-3B8A-8E12-9F19C6439C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381800" y="5424131"/>
            <a:ext cx="6921113" cy="5138198"/>
          </a:xfrm>
          <a:prstGeom prst="round2SameRect">
            <a:avLst>
              <a:gd name="adj1" fmla="val 8362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1081CB0-A2FB-B152-55ED-A3148EF29642}"/>
              </a:ext>
            </a:extLst>
          </p:cNvPr>
          <p:cNvSpPr/>
          <p:nvPr/>
        </p:nvSpPr>
        <p:spPr>
          <a:xfrm>
            <a:off x="16376532" y="5424131"/>
            <a:ext cx="6943724" cy="577691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8" name="Picture 10">
            <a:extLst>
              <a:ext uri="{FF2B5EF4-FFF2-40B4-BE49-F238E27FC236}">
                <a16:creationId xmlns:a16="http://schemas.microsoft.com/office/drawing/2014/main" id="{CC584A66-6C1C-9123-4D86-D8423A110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33349" y="5430545"/>
            <a:ext cx="6918533" cy="5216936"/>
          </a:xfrm>
          <a:prstGeom prst="round2SameRect">
            <a:avLst>
              <a:gd name="adj1" fmla="val 8075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023165E-A451-0FBC-F3F6-4F0E70DC4106}"/>
              </a:ext>
            </a:extLst>
          </p:cNvPr>
          <p:cNvSpPr/>
          <p:nvPr/>
        </p:nvSpPr>
        <p:spPr>
          <a:xfrm>
            <a:off x="8714786" y="5412581"/>
            <a:ext cx="6943724" cy="577691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56" name="Picture 8" descr="Travel Money NZ | Currency Exchange &amp; Travel Money Cards">
            <a:extLst>
              <a:ext uri="{FF2B5EF4-FFF2-40B4-BE49-F238E27FC236}">
                <a16:creationId xmlns:a16="http://schemas.microsoft.com/office/drawing/2014/main" id="{CA0AC7F1-9E51-2BD1-3456-23943B96D4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3700" y="5430545"/>
            <a:ext cx="6907266" cy="4652707"/>
          </a:xfrm>
          <a:prstGeom prst="round2SameRect">
            <a:avLst>
              <a:gd name="adj1" fmla="val 9403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A105398-368C-B9BF-C348-96600DE11DAF}"/>
              </a:ext>
            </a:extLst>
          </p:cNvPr>
          <p:cNvSpPr/>
          <p:nvPr/>
        </p:nvSpPr>
        <p:spPr>
          <a:xfrm>
            <a:off x="1092732" y="5430545"/>
            <a:ext cx="6930494" cy="577691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C2FB103B-637E-D869-8B96-35C8DE3057FE}"/>
              </a:ext>
            </a:extLst>
          </p:cNvPr>
          <p:cNvSpPr/>
          <p:nvPr/>
        </p:nvSpPr>
        <p:spPr>
          <a:xfrm>
            <a:off x="16363301" y="9745663"/>
            <a:ext cx="6956955" cy="1444625"/>
          </a:xfrm>
          <a:prstGeom prst="roundRect">
            <a:avLst>
              <a:gd name="adj" fmla="val 2664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187B069E-1C70-A3FC-117F-25A91F504390}"/>
              </a:ext>
            </a:extLst>
          </p:cNvPr>
          <p:cNvSpPr/>
          <p:nvPr/>
        </p:nvSpPr>
        <p:spPr>
          <a:xfrm>
            <a:off x="8706907" y="9745663"/>
            <a:ext cx="6956955" cy="1444625"/>
          </a:xfrm>
          <a:prstGeom prst="roundRect">
            <a:avLst>
              <a:gd name="adj" fmla="val 2664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CAF917D-BED5-D59F-14D3-97C800EEF0A3}"/>
              </a:ext>
            </a:extLst>
          </p:cNvPr>
          <p:cNvSpPr/>
          <p:nvPr/>
        </p:nvSpPr>
        <p:spPr>
          <a:xfrm>
            <a:off x="1078886" y="9745663"/>
            <a:ext cx="6944339" cy="1444625"/>
          </a:xfrm>
          <a:prstGeom prst="roundRect">
            <a:avLst>
              <a:gd name="adj" fmla="val 2475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22AA60-19F1-C003-E59B-655D3A011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3</a:t>
            </a:fld>
            <a:endParaRPr lang="lt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2F3FBE-837B-B93A-B93E-0E294BB06A60}"/>
              </a:ext>
            </a:extLst>
          </p:cNvPr>
          <p:cNvSpPr txBox="1"/>
          <p:nvPr/>
        </p:nvSpPr>
        <p:spPr>
          <a:xfrm>
            <a:off x="6518655" y="921762"/>
            <a:ext cx="112727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Functions of </a:t>
            </a:r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Money</a:t>
            </a:r>
            <a:endParaRPr lang="en-US" sz="9600" b="1" dirty="0">
              <a:solidFill>
                <a:srgbClr val="F7941F"/>
              </a:solidFill>
              <a:latin typeface="Ubuntu Light" panose="020B0304030602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B63ECB-D29A-0448-A185-DBE0CB3D009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0F94DE5-278E-94F8-7314-7646817C6B8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97BB1B9-013A-CE38-88A4-5BBB46A56417}"/>
              </a:ext>
            </a:extLst>
          </p:cNvPr>
          <p:cNvSpPr txBox="1"/>
          <p:nvPr/>
        </p:nvSpPr>
        <p:spPr>
          <a:xfrm>
            <a:off x="1606297" y="10083254"/>
            <a:ext cx="59583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>
                <a:solidFill>
                  <a:schemeClr val="bg1">
                    <a:lumMod val="9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Medium of Exchange</a:t>
            </a:r>
            <a:endParaRPr lang="en-US" sz="4400" dirty="0">
              <a:solidFill>
                <a:schemeClr val="bg1">
                  <a:lumMod val="9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4367A3A-DD4D-EB0F-9024-C900B0A34DF6}"/>
              </a:ext>
            </a:extLst>
          </p:cNvPr>
          <p:cNvSpPr txBox="1"/>
          <p:nvPr/>
        </p:nvSpPr>
        <p:spPr>
          <a:xfrm>
            <a:off x="9206210" y="10083253"/>
            <a:ext cx="59583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>
                <a:solidFill>
                  <a:schemeClr val="bg1">
                    <a:lumMod val="9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Store of Value</a:t>
            </a:r>
            <a:endParaRPr lang="en-US" sz="4400" dirty="0">
              <a:solidFill>
                <a:schemeClr val="bg1">
                  <a:lumMod val="9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86D8E6-BE4D-339F-BCBA-B8020545DD3F}"/>
              </a:ext>
            </a:extLst>
          </p:cNvPr>
          <p:cNvSpPr txBox="1"/>
          <p:nvPr/>
        </p:nvSpPr>
        <p:spPr>
          <a:xfrm>
            <a:off x="16862604" y="10083253"/>
            <a:ext cx="59583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>
                <a:solidFill>
                  <a:schemeClr val="bg1">
                    <a:lumMod val="9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Unit of Account</a:t>
            </a:r>
            <a:endParaRPr lang="en-US" sz="4400" dirty="0">
              <a:solidFill>
                <a:schemeClr val="bg1">
                  <a:lumMod val="9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6091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E4230A74-E1AA-0CF4-55B2-E383CA589EAC}"/>
              </a:ext>
            </a:extLst>
          </p:cNvPr>
          <p:cNvSpPr/>
          <p:nvPr/>
        </p:nvSpPr>
        <p:spPr>
          <a:xfrm>
            <a:off x="-11177" y="0"/>
            <a:ext cx="24403179" cy="4481404"/>
          </a:xfrm>
          <a:prstGeom prst="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7800000" scaled="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246B5A2-5A7A-9ADF-2F75-B119A6772A6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27532" y="5398104"/>
            <a:ext cx="2601723" cy="26017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7A45DB-FC52-F82B-819C-FBFFF19349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D1BBC38-5A90-E03D-CE0B-A376EB80EFDA}"/>
              </a:ext>
            </a:extLst>
          </p:cNvPr>
          <p:cNvSpPr/>
          <p:nvPr/>
        </p:nvSpPr>
        <p:spPr>
          <a:xfrm>
            <a:off x="1079500" y="3461467"/>
            <a:ext cx="3418583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Primitive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FE0600-077A-4CA8-1C1A-7A62E65A9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4</a:t>
            </a:fld>
            <a:endParaRPr lang="lt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84EFFA-E49D-1A20-4BB9-2631689DFBF6}"/>
              </a:ext>
            </a:extLst>
          </p:cNvPr>
          <p:cNvSpPr txBox="1"/>
          <p:nvPr/>
        </p:nvSpPr>
        <p:spPr>
          <a:xfrm>
            <a:off x="5712933" y="838572"/>
            <a:ext cx="1318869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volution of Money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BD87E71-31E6-53AC-FC1A-EBAAB31087B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0995" y="5962267"/>
            <a:ext cx="2656630" cy="199739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00158F8-C93F-3F75-D9A3-4430D45C881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6558" y="5711252"/>
            <a:ext cx="2780668" cy="231629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B8EFF32-9988-C8D3-A3D0-2F8518CD178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38000" contrast="-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578329">
            <a:off x="7760527" y="6072055"/>
            <a:ext cx="2131056" cy="142990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1E85FEA-D7BF-3282-95A7-A98EFE91867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444811">
            <a:off x="10880512" y="5691089"/>
            <a:ext cx="1929956" cy="171926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CFF4DBA-0C4E-3A0A-9836-CAAFB8C2F1D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735915">
            <a:off x="12630107" y="6159674"/>
            <a:ext cx="2358155" cy="102424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3E2ABB12-FD33-2530-58D7-9264313E564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586218">
            <a:off x="15049830" y="6266952"/>
            <a:ext cx="2492630" cy="1051803"/>
          </a:xfrm>
          <a:prstGeom prst="rect">
            <a:avLst/>
          </a:prstGeom>
        </p:spPr>
      </p:pic>
      <p:pic>
        <p:nvPicPr>
          <p:cNvPr id="43" name="Picture 42" descr="Download Bitcoin, Btc, Crypto. Royalty-Free Stock Illustration Image ...">
            <a:extLst>
              <a:ext uri="{FF2B5EF4-FFF2-40B4-BE49-F238E27FC236}">
                <a16:creationId xmlns:a16="http://schemas.microsoft.com/office/drawing/2014/main" id="{E2EE0475-C13B-646E-1A87-A46571834E7B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tretch>
            <a:fillRect/>
          </a:stretch>
        </p:blipFill>
        <p:spPr>
          <a:xfrm>
            <a:off x="20173632" y="5632918"/>
            <a:ext cx="2402891" cy="240289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0378DCDF-379E-4FB7-6000-445E1F771E0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6949" y="7993129"/>
            <a:ext cx="2496216" cy="241384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FD808867-EE7F-5F93-1AA9-061EF15C38B2}"/>
              </a:ext>
            </a:extLst>
          </p:cNvPr>
          <p:cNvSpPr/>
          <p:nvPr/>
        </p:nvSpPr>
        <p:spPr>
          <a:xfrm>
            <a:off x="4996558" y="3461467"/>
            <a:ext cx="4700574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Precious Metal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083B642-B31A-C0B6-7FD3-4A10583F15AA}"/>
              </a:ext>
            </a:extLst>
          </p:cNvPr>
          <p:cNvSpPr/>
          <p:nvPr/>
        </p:nvSpPr>
        <p:spPr>
          <a:xfrm>
            <a:off x="10195607" y="3461467"/>
            <a:ext cx="4772931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Gold-Backed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62B3073-85FB-2E12-B085-E9C51A02EA8A}"/>
              </a:ext>
            </a:extLst>
          </p:cNvPr>
          <p:cNvSpPr/>
          <p:nvPr/>
        </p:nvSpPr>
        <p:spPr>
          <a:xfrm>
            <a:off x="15505061" y="3470683"/>
            <a:ext cx="3081020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Fia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C8AEF73-18FB-BA9F-E761-AF01FDF6AB46}"/>
              </a:ext>
            </a:extLst>
          </p:cNvPr>
          <p:cNvSpPr/>
          <p:nvPr/>
        </p:nvSpPr>
        <p:spPr>
          <a:xfrm>
            <a:off x="19159379" y="3169197"/>
            <a:ext cx="4167187" cy="1599106"/>
          </a:xfrm>
          <a:prstGeom prst="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latin typeface="Ubuntu" panose="020B0304030602030204" pitchFamily="34" charset="0"/>
              </a:rPr>
              <a:t>Decentralized &amp; Digital</a:t>
            </a: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60305517-5BA2-661E-1B60-B21DB4F3A55D}"/>
              </a:ext>
            </a:extLst>
          </p:cNvPr>
          <p:cNvSpPr/>
          <p:nvPr/>
        </p:nvSpPr>
        <p:spPr>
          <a:xfrm>
            <a:off x="8593158" y="8241173"/>
            <a:ext cx="1263956" cy="1156771"/>
          </a:xfrm>
          <a:custGeom>
            <a:avLst/>
            <a:gdLst>
              <a:gd name="connsiteX0" fmla="*/ 0 w 1591937"/>
              <a:gd name="connsiteY0" fmla="*/ 0 h 1156771"/>
              <a:gd name="connsiteX1" fmla="*/ 374573 w 1591937"/>
              <a:gd name="connsiteY1" fmla="*/ 831773 h 1156771"/>
              <a:gd name="connsiteX2" fmla="*/ 1591937 w 1591937"/>
              <a:gd name="connsiteY2" fmla="*/ 1156771 h 11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1937" h="1156771">
                <a:moveTo>
                  <a:pt x="0" y="0"/>
                </a:moveTo>
                <a:cubicBezTo>
                  <a:pt x="54625" y="319489"/>
                  <a:pt x="109250" y="638978"/>
                  <a:pt x="374573" y="831773"/>
                </a:cubicBezTo>
                <a:cubicBezTo>
                  <a:pt x="639896" y="1024568"/>
                  <a:pt x="1115916" y="1090669"/>
                  <a:pt x="1591937" y="1156771"/>
                </a:cubicBezTo>
              </a:path>
            </a:pathLst>
          </a:custGeom>
          <a:noFill/>
          <a:ln w="22225">
            <a:solidFill>
              <a:srgbClr val="3C3C3C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>
            <a:extLst>
              <a:ext uri="{FF2B5EF4-FFF2-40B4-BE49-F238E27FC236}">
                <a16:creationId xmlns:a16="http://schemas.microsoft.com/office/drawing/2014/main" id="{36598FE8-5168-FC73-C419-3FFB79F8C600}"/>
              </a:ext>
            </a:extLst>
          </p:cNvPr>
          <p:cNvSpPr/>
          <p:nvPr/>
        </p:nvSpPr>
        <p:spPr>
          <a:xfrm>
            <a:off x="12181114" y="7766660"/>
            <a:ext cx="786020" cy="1567543"/>
          </a:xfrm>
          <a:custGeom>
            <a:avLst/>
            <a:gdLst>
              <a:gd name="connsiteX0" fmla="*/ 0 w 786020"/>
              <a:gd name="connsiteY0" fmla="*/ 1567543 h 1567543"/>
              <a:gd name="connsiteX1" fmla="*/ 783772 w 786020"/>
              <a:gd name="connsiteY1" fmla="*/ 979715 h 1567543"/>
              <a:gd name="connsiteX2" fmla="*/ 244929 w 786020"/>
              <a:gd name="connsiteY2" fmla="*/ 0 h 156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6020" h="1567543">
                <a:moveTo>
                  <a:pt x="0" y="1567543"/>
                </a:moveTo>
                <a:cubicBezTo>
                  <a:pt x="371475" y="1404257"/>
                  <a:pt x="742951" y="1240972"/>
                  <a:pt x="783772" y="979715"/>
                </a:cubicBezTo>
                <a:cubicBezTo>
                  <a:pt x="824593" y="718458"/>
                  <a:pt x="296636" y="125186"/>
                  <a:pt x="244929" y="0"/>
                </a:cubicBezTo>
              </a:path>
            </a:pathLst>
          </a:custGeom>
          <a:noFill/>
          <a:ln w="22225">
            <a:solidFill>
              <a:srgbClr val="3C3C3C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BE9B0117-5843-604D-29DD-2BFEBF01D087}"/>
              </a:ext>
            </a:extLst>
          </p:cNvPr>
          <p:cNvSpPr/>
          <p:nvPr/>
        </p:nvSpPr>
        <p:spPr>
          <a:xfrm rot="1165411">
            <a:off x="12464561" y="7833132"/>
            <a:ext cx="1019204" cy="1665514"/>
          </a:xfrm>
          <a:custGeom>
            <a:avLst/>
            <a:gdLst>
              <a:gd name="connsiteX0" fmla="*/ 0 w 1019204"/>
              <a:gd name="connsiteY0" fmla="*/ 1665514 h 1665514"/>
              <a:gd name="connsiteX1" fmla="*/ 947057 w 1019204"/>
              <a:gd name="connsiteY1" fmla="*/ 1110343 h 1665514"/>
              <a:gd name="connsiteX2" fmla="*/ 881743 w 1019204"/>
              <a:gd name="connsiteY2" fmla="*/ 0 h 1665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9204" h="1665514">
                <a:moveTo>
                  <a:pt x="0" y="1665514"/>
                </a:moveTo>
                <a:cubicBezTo>
                  <a:pt x="400050" y="1526721"/>
                  <a:pt x="800100" y="1387929"/>
                  <a:pt x="947057" y="1110343"/>
                </a:cubicBezTo>
                <a:cubicBezTo>
                  <a:pt x="1094014" y="832757"/>
                  <a:pt x="987878" y="416378"/>
                  <a:pt x="881743" y="0"/>
                </a:cubicBezTo>
              </a:path>
            </a:pathLst>
          </a:custGeom>
          <a:noFill/>
          <a:ln w="22225">
            <a:solidFill>
              <a:srgbClr val="3C3C3C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2C5C5E6-A220-18B3-9F3A-97CF8FA32959}"/>
              </a:ext>
            </a:extLst>
          </p:cNvPr>
          <p:cNvSpPr/>
          <p:nvPr/>
        </p:nvSpPr>
        <p:spPr>
          <a:xfrm>
            <a:off x="12131862" y="9155499"/>
            <a:ext cx="2130752" cy="465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2B1C58"/>
                </a:solidFill>
                <a:latin typeface="Ubuntu" panose="020B0304030602030204" pitchFamily="34" charset="0"/>
              </a:rPr>
              <a:t>BANKNOTE</a:t>
            </a:r>
          </a:p>
        </p:txBody>
      </p:sp>
      <p:sp>
        <p:nvSpPr>
          <p:cNvPr id="59" name="Triangle 58">
            <a:extLst>
              <a:ext uri="{FF2B5EF4-FFF2-40B4-BE49-F238E27FC236}">
                <a16:creationId xmlns:a16="http://schemas.microsoft.com/office/drawing/2014/main" id="{C7B619AC-7AB2-4D3C-3442-9327D6A0BEA7}"/>
              </a:ext>
            </a:extLst>
          </p:cNvPr>
          <p:cNvSpPr/>
          <p:nvPr/>
        </p:nvSpPr>
        <p:spPr>
          <a:xfrm rot="21363040">
            <a:off x="8520739" y="8195323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riangle 59">
            <a:extLst>
              <a:ext uri="{FF2B5EF4-FFF2-40B4-BE49-F238E27FC236}">
                <a16:creationId xmlns:a16="http://schemas.microsoft.com/office/drawing/2014/main" id="{3146E0A2-275B-7CEE-D18D-86DB4F87E9B5}"/>
              </a:ext>
            </a:extLst>
          </p:cNvPr>
          <p:cNvSpPr/>
          <p:nvPr/>
        </p:nvSpPr>
        <p:spPr>
          <a:xfrm rot="5774082">
            <a:off x="9867576" y="9333825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riangle 60">
            <a:extLst>
              <a:ext uri="{FF2B5EF4-FFF2-40B4-BE49-F238E27FC236}">
                <a16:creationId xmlns:a16="http://schemas.microsoft.com/office/drawing/2014/main" id="{4F7E004D-CB8C-31AE-43A3-83F76A961B97}"/>
              </a:ext>
            </a:extLst>
          </p:cNvPr>
          <p:cNvSpPr/>
          <p:nvPr/>
        </p:nvSpPr>
        <p:spPr>
          <a:xfrm rot="12450810">
            <a:off x="12332605" y="7748570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riangle 61">
            <a:extLst>
              <a:ext uri="{FF2B5EF4-FFF2-40B4-BE49-F238E27FC236}">
                <a16:creationId xmlns:a16="http://schemas.microsoft.com/office/drawing/2014/main" id="{CC8507EC-B0E3-6651-E175-D770B4109985}"/>
              </a:ext>
            </a:extLst>
          </p:cNvPr>
          <p:cNvSpPr/>
          <p:nvPr/>
        </p:nvSpPr>
        <p:spPr>
          <a:xfrm rot="276489">
            <a:off x="13512336" y="7891208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ight Bracket 63">
            <a:extLst>
              <a:ext uri="{FF2B5EF4-FFF2-40B4-BE49-F238E27FC236}">
                <a16:creationId xmlns:a16="http://schemas.microsoft.com/office/drawing/2014/main" id="{A11336C5-6004-5F2B-9095-86A392C59283}"/>
              </a:ext>
            </a:extLst>
          </p:cNvPr>
          <p:cNvSpPr/>
          <p:nvPr/>
        </p:nvSpPr>
        <p:spPr>
          <a:xfrm rot="5400000">
            <a:off x="16009406" y="6513087"/>
            <a:ext cx="222771" cy="4497417"/>
          </a:xfrm>
          <a:prstGeom prst="rightBracket">
            <a:avLst/>
          </a:prstGeom>
          <a:ln w="25400">
            <a:solidFill>
              <a:srgbClr val="3C3C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3FFE2B5-1059-0014-BE17-7B23C1373A26}"/>
              </a:ext>
            </a:extLst>
          </p:cNvPr>
          <p:cNvSpPr/>
          <p:nvPr/>
        </p:nvSpPr>
        <p:spPr>
          <a:xfrm>
            <a:off x="14968538" y="8749927"/>
            <a:ext cx="2286535" cy="222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2B1C58"/>
                </a:solidFill>
                <a:latin typeface="Ubuntu" panose="020B0304030602030204" pitchFamily="34" charset="0"/>
              </a:rPr>
              <a:t>GOV’T ISSUED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9F1FDF9-5952-8200-248A-52A9993C7907}"/>
              </a:ext>
            </a:extLst>
          </p:cNvPr>
          <p:cNvCxnSpPr/>
          <p:nvPr/>
        </p:nvCxnSpPr>
        <p:spPr>
          <a:xfrm>
            <a:off x="1079500" y="10659979"/>
            <a:ext cx="22221825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628506A8-D199-4A58-FFF3-A7690871A6D7}"/>
              </a:ext>
            </a:extLst>
          </p:cNvPr>
          <p:cNvSpPr/>
          <p:nvPr/>
        </p:nvSpPr>
        <p:spPr>
          <a:xfrm>
            <a:off x="10940309" y="11184742"/>
            <a:ext cx="2286535" cy="222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583684"/>
                </a:solidFill>
                <a:latin typeface="Ubuntu" panose="020B0304030602030204" pitchFamily="34" charset="0"/>
              </a:rPr>
              <a:t>TIME</a:t>
            </a:r>
          </a:p>
        </p:txBody>
      </p:sp>
      <p:sp>
        <p:nvSpPr>
          <p:cNvPr id="68" name="Triangle 67">
            <a:extLst>
              <a:ext uri="{FF2B5EF4-FFF2-40B4-BE49-F238E27FC236}">
                <a16:creationId xmlns:a16="http://schemas.microsoft.com/office/drawing/2014/main" id="{6DD4E72A-521D-1019-1DA3-FF80DDFD6A61}"/>
              </a:ext>
            </a:extLst>
          </p:cNvPr>
          <p:cNvSpPr/>
          <p:nvPr/>
        </p:nvSpPr>
        <p:spPr>
          <a:xfrm rot="5400000">
            <a:off x="22953535" y="10525675"/>
            <a:ext cx="486446" cy="26860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FCF3292-82A7-603B-12E9-B6A79CB2C9E7}"/>
              </a:ext>
            </a:extLst>
          </p:cNvPr>
          <p:cNvSpPr txBox="1"/>
          <p:nvPr/>
        </p:nvSpPr>
        <p:spPr>
          <a:xfrm>
            <a:off x="4880400" y="11654679"/>
            <a:ext cx="14672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people consider money changes over time</a:t>
            </a:r>
          </a:p>
        </p:txBody>
      </p:sp>
      <p:sp>
        <p:nvSpPr>
          <p:cNvPr id="73" name="Triangle 72">
            <a:extLst>
              <a:ext uri="{FF2B5EF4-FFF2-40B4-BE49-F238E27FC236}">
                <a16:creationId xmlns:a16="http://schemas.microsoft.com/office/drawing/2014/main" id="{1A233522-7E5B-E878-A963-47C774735313}"/>
              </a:ext>
            </a:extLst>
          </p:cNvPr>
          <p:cNvSpPr/>
          <p:nvPr/>
        </p:nvSpPr>
        <p:spPr>
          <a:xfrm rot="5400000">
            <a:off x="4517951" y="383321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riangle 76">
            <a:extLst>
              <a:ext uri="{FF2B5EF4-FFF2-40B4-BE49-F238E27FC236}">
                <a16:creationId xmlns:a16="http://schemas.microsoft.com/office/drawing/2014/main" id="{A3F372E7-A940-269C-59E2-373EFE966780}"/>
              </a:ext>
            </a:extLst>
          </p:cNvPr>
          <p:cNvSpPr/>
          <p:nvPr/>
        </p:nvSpPr>
        <p:spPr>
          <a:xfrm rot="5400000">
            <a:off x="9697464" y="383321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Triangle 77">
            <a:extLst>
              <a:ext uri="{FF2B5EF4-FFF2-40B4-BE49-F238E27FC236}">
                <a16:creationId xmlns:a16="http://schemas.microsoft.com/office/drawing/2014/main" id="{FB9C77A7-DCCB-C12F-A41E-3FFB36662AC2}"/>
              </a:ext>
            </a:extLst>
          </p:cNvPr>
          <p:cNvSpPr/>
          <p:nvPr/>
        </p:nvSpPr>
        <p:spPr>
          <a:xfrm rot="5400000">
            <a:off x="14998659" y="384108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riangle 78">
            <a:extLst>
              <a:ext uri="{FF2B5EF4-FFF2-40B4-BE49-F238E27FC236}">
                <a16:creationId xmlns:a16="http://schemas.microsoft.com/office/drawing/2014/main" id="{A0D2D78F-DE9D-DDBA-283A-231B5A268BB1}"/>
              </a:ext>
            </a:extLst>
          </p:cNvPr>
          <p:cNvSpPr/>
          <p:nvPr/>
        </p:nvSpPr>
        <p:spPr>
          <a:xfrm rot="5400000">
            <a:off x="18605949" y="384108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806FD3-8838-BE6B-221A-73F14590570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28393" y="-1980889"/>
            <a:ext cx="6645339" cy="5060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163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94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825D5960-E9A4-8422-D38B-905BA804F723}"/>
              </a:ext>
            </a:extLst>
          </p:cNvPr>
          <p:cNvSpPr/>
          <p:nvPr/>
        </p:nvSpPr>
        <p:spPr>
          <a:xfrm>
            <a:off x="14982302" y="7995622"/>
            <a:ext cx="5556250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52C784C-331A-E636-4390-2EBC4E987D14}"/>
              </a:ext>
            </a:extLst>
          </p:cNvPr>
          <p:cNvSpPr/>
          <p:nvPr/>
        </p:nvSpPr>
        <p:spPr>
          <a:xfrm>
            <a:off x="8430521" y="8017968"/>
            <a:ext cx="5148953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B83D1F93-45E5-E7F6-92E5-29350CD8764F}"/>
              </a:ext>
            </a:extLst>
          </p:cNvPr>
          <p:cNvSpPr/>
          <p:nvPr/>
        </p:nvSpPr>
        <p:spPr>
          <a:xfrm>
            <a:off x="2466975" y="8017968"/>
            <a:ext cx="5556250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Elbow Connector 42">
            <a:extLst>
              <a:ext uri="{FF2B5EF4-FFF2-40B4-BE49-F238E27FC236}">
                <a16:creationId xmlns:a16="http://schemas.microsoft.com/office/drawing/2014/main" id="{15621D65-7C0E-2409-1A2B-B12598E13DD8}"/>
              </a:ext>
            </a:extLst>
          </p:cNvPr>
          <p:cNvCxnSpPr>
            <a:cxnSpLocks/>
          </p:cNvCxnSpPr>
          <p:nvPr/>
        </p:nvCxnSpPr>
        <p:spPr>
          <a:xfrm>
            <a:off x="14968538" y="5405465"/>
            <a:ext cx="2870769" cy="1337270"/>
          </a:xfrm>
          <a:prstGeom prst="bentConnector3">
            <a:avLst>
              <a:gd name="adj1" fmla="val 9633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F49B24D-655F-7E94-7368-83997E863202}"/>
              </a:ext>
            </a:extLst>
          </p:cNvPr>
          <p:cNvSpPr/>
          <p:nvPr/>
        </p:nvSpPr>
        <p:spPr>
          <a:xfrm>
            <a:off x="14981816" y="6566186"/>
            <a:ext cx="5556250" cy="9119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567EA08-8635-EA95-EC92-B9EAA81CDB05}"/>
              </a:ext>
            </a:extLst>
          </p:cNvPr>
          <p:cNvSpPr/>
          <p:nvPr/>
        </p:nvSpPr>
        <p:spPr>
          <a:xfrm>
            <a:off x="3857625" y="6458743"/>
            <a:ext cx="5556250" cy="9119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A1EFFC-3D86-9FA7-98E0-C15FD326292D}"/>
              </a:ext>
            </a:extLst>
          </p:cNvPr>
          <p:cNvSpPr txBox="1"/>
          <p:nvPr/>
        </p:nvSpPr>
        <p:spPr>
          <a:xfrm>
            <a:off x="12302180" y="8021339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PRICE INFLATION </a:t>
            </a:r>
            <a:endParaRPr lang="en-US" sz="4400" b="1" dirty="0">
              <a:solidFill>
                <a:srgbClr val="FFFFFF"/>
              </a:solidFill>
              <a:latin typeface="Ubuntu" panose="020B0304030602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E87BB76-79C3-80E2-9DD9-2149E42BA46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0F52FF-9360-F2C0-B39C-6C3CCA838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5</a:t>
            </a:fld>
            <a:endParaRPr lang="lt-LT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9F5C0F-898D-3104-616A-51576B23616E}"/>
              </a:ext>
            </a:extLst>
          </p:cNvPr>
          <p:cNvSpPr txBox="1"/>
          <p:nvPr/>
        </p:nvSpPr>
        <p:spPr>
          <a:xfrm>
            <a:off x="-156436" y="8032714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DETERIORATION</a:t>
            </a:r>
            <a:endParaRPr lang="en-US" sz="4400" b="1" dirty="0">
              <a:solidFill>
                <a:srgbClr val="FFFFFF"/>
              </a:solidFill>
              <a:latin typeface="Ubuntu" panose="020B0304030602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E11A70-EB9C-0F84-331E-6C7D85C6E56A}"/>
              </a:ext>
            </a:extLst>
          </p:cNvPr>
          <p:cNvSpPr txBox="1"/>
          <p:nvPr/>
        </p:nvSpPr>
        <p:spPr>
          <a:xfrm>
            <a:off x="5576175" y="8051296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SHRINKFLATION</a:t>
            </a:r>
            <a:endParaRPr lang="en-US" sz="4400" b="1" dirty="0">
              <a:solidFill>
                <a:srgbClr val="FFFFFF"/>
              </a:solidFill>
              <a:latin typeface="Ubuntu" panose="020B0304030602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B8F6F4-AEDD-EE68-CC1D-6ED92D35D98F}"/>
              </a:ext>
            </a:extLst>
          </p:cNvPr>
          <p:cNvSpPr txBox="1"/>
          <p:nvPr/>
        </p:nvSpPr>
        <p:spPr>
          <a:xfrm>
            <a:off x="2499443" y="9092555"/>
            <a:ext cx="5545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Reduce Quality 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of Ingredients</a:t>
            </a:r>
            <a:endParaRPr lang="en-US" sz="44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FCF3423-7E3E-8D30-06BF-265C058DB51B}"/>
              </a:ext>
            </a:extLst>
          </p:cNvPr>
          <p:cNvSpPr txBox="1"/>
          <p:nvPr/>
        </p:nvSpPr>
        <p:spPr>
          <a:xfrm>
            <a:off x="8232053" y="9092555"/>
            <a:ext cx="5545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Reduce Quantity 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of Ingredients</a:t>
            </a:r>
            <a:endParaRPr lang="en-US" sz="44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2B149C-B633-283F-03CA-5258A6960A23}"/>
              </a:ext>
            </a:extLst>
          </p:cNvPr>
          <p:cNvSpPr txBox="1"/>
          <p:nvPr/>
        </p:nvSpPr>
        <p:spPr>
          <a:xfrm>
            <a:off x="15270591" y="9070210"/>
            <a:ext cx="5545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Pass on Costs 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to </a:t>
            </a:r>
            <a:r>
              <a:rPr lang="en-US" sz="440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Customers</a:t>
            </a:r>
            <a:endParaRPr lang="en-US" sz="44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CB630F4-0CC4-2795-4FBB-0084005CA9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82544893-56D2-91BF-EDC9-F007033C4CD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099340" y="2982196"/>
            <a:ext cx="999524" cy="59010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 descr="PNG y SVG de ingredients con fondo transparente para descargar">
            <a:extLst>
              <a:ext uri="{FF2B5EF4-FFF2-40B4-BE49-F238E27FC236}">
                <a16:creationId xmlns:a16="http://schemas.microsoft.com/office/drawing/2014/main" id="{B17FB0CE-47DD-CA7B-E498-22B90C382BC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133765" y="10632421"/>
            <a:ext cx="2222670" cy="2222670"/>
          </a:xfrm>
          <a:prstGeom prst="rect">
            <a:avLst/>
          </a:prstGeom>
        </p:spPr>
      </p:pic>
      <p:pic>
        <p:nvPicPr>
          <p:cNvPr id="53" name="Picture 52" descr="Cheeseburger Hamburger Fast Food - Burger Clipart Png Transparent Png ...">
            <a:extLst>
              <a:ext uri="{FF2B5EF4-FFF2-40B4-BE49-F238E27FC236}">
                <a16:creationId xmlns:a16="http://schemas.microsoft.com/office/drawing/2014/main" id="{C86649EB-8057-172C-7BB2-EFA4E9D9E08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0063360" y="10810923"/>
            <a:ext cx="2222670" cy="194211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818F1F0-0CEE-6460-785B-41722BA34187}"/>
              </a:ext>
            </a:extLst>
          </p:cNvPr>
          <p:cNvSpPr txBox="1"/>
          <p:nvPr/>
        </p:nvSpPr>
        <p:spPr>
          <a:xfrm>
            <a:off x="12317841" y="6576714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583684"/>
                </a:solidFill>
                <a:effectLst/>
                <a:latin typeface="Ubuntu" panose="020B0304030602030204" pitchFamily="34" charset="0"/>
              </a:rPr>
              <a:t>RAISE PRICES</a:t>
            </a:r>
            <a:endParaRPr lang="en-US" sz="4400" b="1" dirty="0">
              <a:solidFill>
                <a:srgbClr val="583684"/>
              </a:solidFill>
              <a:latin typeface="Ubuntu" panose="020B0304030602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C7C43F-0E87-9819-83DA-773B6A317F21}"/>
              </a:ext>
            </a:extLst>
          </p:cNvPr>
          <p:cNvSpPr txBox="1"/>
          <p:nvPr/>
        </p:nvSpPr>
        <p:spPr>
          <a:xfrm>
            <a:off x="1241878" y="6498845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583684"/>
                </a:solidFill>
                <a:effectLst/>
                <a:latin typeface="Ubuntu" panose="020B0304030602030204" pitchFamily="34" charset="0"/>
              </a:rPr>
              <a:t>HIDE INCREASE</a:t>
            </a:r>
            <a:endParaRPr lang="en-US" sz="4400" b="1" dirty="0">
              <a:solidFill>
                <a:srgbClr val="583684"/>
              </a:solidFill>
              <a:latin typeface="Ubuntu" panose="020B0304030602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FE91C5-8F78-BE04-D236-E0F054933B8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81486" y="10754032"/>
            <a:ext cx="2134599" cy="2134599"/>
          </a:xfrm>
          <a:prstGeom prst="rect">
            <a:avLst/>
          </a:prstGeom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1F886253-E2A7-5858-2D54-82E3239F821F}"/>
              </a:ext>
            </a:extLst>
          </p:cNvPr>
          <p:cNvSpPr/>
          <p:nvPr/>
        </p:nvSpPr>
        <p:spPr>
          <a:xfrm>
            <a:off x="8303791" y="2591475"/>
            <a:ext cx="7776417" cy="14295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DFAEDE9-F9FB-D5B7-BCF3-FB9197E5BBD2}"/>
              </a:ext>
            </a:extLst>
          </p:cNvPr>
          <p:cNvSpPr txBox="1"/>
          <p:nvPr/>
        </p:nvSpPr>
        <p:spPr>
          <a:xfrm>
            <a:off x="6771955" y="974006"/>
            <a:ext cx="1085764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onsequences of </a:t>
            </a:r>
            <a:r>
              <a:rPr lang="en-US" sz="9600" b="1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iat Money</a:t>
            </a:r>
            <a:endParaRPr lang="en-US" sz="9600" b="1" dirty="0">
              <a:solidFill>
                <a:srgbClr val="F7941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A528428-942A-F0EE-0521-7057EE1BE3DC}"/>
              </a:ext>
            </a:extLst>
          </p:cNvPr>
          <p:cNvSpPr/>
          <p:nvPr/>
        </p:nvSpPr>
        <p:spPr>
          <a:xfrm>
            <a:off x="9412288" y="4971858"/>
            <a:ext cx="5556250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872248-F54C-C34C-BE74-060F1D2F96E4}"/>
              </a:ext>
            </a:extLst>
          </p:cNvPr>
          <p:cNvSpPr txBox="1"/>
          <p:nvPr/>
        </p:nvSpPr>
        <p:spPr>
          <a:xfrm>
            <a:off x="6763178" y="4998234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INPUT </a:t>
            </a:r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PRICES RISE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5749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20F7BB-CF53-F172-F415-4B98B35E86E5}"/>
              </a:ext>
            </a:extLst>
          </p:cNvPr>
          <p:cNvSpPr/>
          <p:nvPr/>
        </p:nvSpPr>
        <p:spPr>
          <a:xfrm>
            <a:off x="0" y="0"/>
            <a:ext cx="24382413" cy="3968750"/>
          </a:xfrm>
          <a:prstGeom prst="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B19130B-E5E5-BA36-3439-AAF1DF512D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9CD33E-F6EA-3A71-AB63-834979A79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6</a:t>
            </a:fld>
            <a:endParaRPr lang="lt-LT"/>
          </a:p>
        </p:txBody>
      </p:sp>
      <p:pic>
        <p:nvPicPr>
          <p:cNvPr id="2050" name="Picture 2" descr="No photo description available.">
            <a:extLst>
              <a:ext uri="{FF2B5EF4-FFF2-40B4-BE49-F238E27FC236}">
                <a16:creationId xmlns:a16="http://schemas.microsoft.com/office/drawing/2014/main" id="{390E1870-141F-72BD-8671-2F1BB88F4C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03" t="12906" r="3024" b="12887"/>
          <a:stretch/>
        </p:blipFill>
        <p:spPr bwMode="auto">
          <a:xfrm>
            <a:off x="1807535" y="2842230"/>
            <a:ext cx="20824493" cy="1014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5FFD2B-F10D-C6E2-31C0-1BF03D8326CD}"/>
              </a:ext>
            </a:extLst>
          </p:cNvPr>
          <p:cNvSpPr txBox="1"/>
          <p:nvPr/>
        </p:nvSpPr>
        <p:spPr>
          <a:xfrm>
            <a:off x="5422773" y="718572"/>
            <a:ext cx="14998827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Purchasing Power of the U.S. Dollar </a:t>
            </a:r>
            <a:r>
              <a:rPr lang="en-US" sz="4800" b="1" dirty="0">
                <a:solidFill>
                  <a:srgbClr val="E6E3D7"/>
                </a:solidFill>
                <a:effectLst/>
                <a:latin typeface="Ubuntu" panose="020B0304030602030204" pitchFamily="34" charset="0"/>
              </a:rPr>
              <a:t>1913-2017 </a:t>
            </a:r>
            <a:endParaRPr lang="en-US" sz="6600" b="1" dirty="0">
              <a:solidFill>
                <a:srgbClr val="E6E3D7"/>
              </a:solidFill>
              <a:latin typeface="Ubuntu Light" panose="020B0304030602030204" pitchFamily="34" charset="0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7D937C0-E2D9-507A-F51B-85A1C4CF1234}"/>
              </a:ext>
            </a:extLst>
          </p:cNvPr>
          <p:cNvSpPr/>
          <p:nvPr/>
        </p:nvSpPr>
        <p:spPr>
          <a:xfrm>
            <a:off x="4189259" y="3120209"/>
            <a:ext cx="5223029" cy="1622591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Federal Reserve Created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AF47EA2-8D8C-5B5C-AB7B-C8D18A053C8A}"/>
              </a:ext>
            </a:extLst>
          </p:cNvPr>
          <p:cNvSpPr/>
          <p:nvPr/>
        </p:nvSpPr>
        <p:spPr>
          <a:xfrm>
            <a:off x="17172879" y="8764877"/>
            <a:ext cx="5464106" cy="1964747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Dollar has lost more than 96% of its value since 1913</a:t>
            </a:r>
          </a:p>
        </p:txBody>
      </p:sp>
    </p:spTree>
    <p:extLst>
      <p:ext uri="{BB962C8B-B14F-4D97-AF65-F5344CB8AC3E}">
        <p14:creationId xmlns:p14="http://schemas.microsoft.com/office/powerpoint/2010/main" val="42120116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4AFFD16B-DF1F-06C3-6F31-4446A193331E}"/>
              </a:ext>
            </a:extLst>
          </p:cNvPr>
          <p:cNvSpPr/>
          <p:nvPr/>
        </p:nvSpPr>
        <p:spPr>
          <a:xfrm>
            <a:off x="6634163" y="1079500"/>
            <a:ext cx="11114088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14C7667-B6B0-D141-CC5C-58A0F3B8BF37}"/>
              </a:ext>
            </a:extLst>
          </p:cNvPr>
          <p:cNvSpPr/>
          <p:nvPr/>
        </p:nvSpPr>
        <p:spPr>
          <a:xfrm>
            <a:off x="6714934" y="3968750"/>
            <a:ext cx="11022140" cy="5776913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7</a:t>
            </a:fld>
            <a:endParaRPr lang="lt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CBF3EC-2EC3-8F4F-A8F0-10AD9AF3CD9D}"/>
              </a:ext>
            </a:extLst>
          </p:cNvPr>
          <p:cNvSpPr txBox="1"/>
          <p:nvPr/>
        </p:nvSpPr>
        <p:spPr>
          <a:xfrm>
            <a:off x="6555617" y="889428"/>
            <a:ext cx="1127276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What is Bitcoin?</a:t>
            </a:r>
            <a:endParaRPr lang="en-US" sz="96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4F94D4-93E5-FFB3-79B9-3FA31D33DB4B}"/>
              </a:ext>
            </a:extLst>
          </p:cNvPr>
          <p:cNvSpPr txBox="1"/>
          <p:nvPr/>
        </p:nvSpPr>
        <p:spPr>
          <a:xfrm>
            <a:off x="7271734" y="4503509"/>
            <a:ext cx="990854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0" i="0" dirty="0">
                <a:solidFill>
                  <a:srgbClr val="5E378E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itcoin is a decentralized digital currency that is finite and exists outside of the control of governments and banks</a:t>
            </a:r>
            <a:endParaRPr lang="en-US" sz="6000" i="1" dirty="0">
              <a:solidFill>
                <a:srgbClr val="5E378E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DBB6A2-8133-D07B-8CB2-515C06450A3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490F839-27A7-18F3-5CDD-8A513D05447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5646230-F05D-BCA2-5F9E-F53A21F534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27" t="10598" r="14932" b="42256"/>
          <a:stretch/>
        </p:blipFill>
        <p:spPr bwMode="auto">
          <a:xfrm rot="20867219">
            <a:off x="1078901" y="4917229"/>
            <a:ext cx="3964628" cy="3957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C8E46ECF-E000-99A0-7FCC-2472ABE7BF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27" t="10598" r="14932" b="42256"/>
          <a:stretch/>
        </p:blipFill>
        <p:spPr bwMode="auto">
          <a:xfrm rot="20867219">
            <a:off x="19338884" y="4917229"/>
            <a:ext cx="3964628" cy="3957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9143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8</a:t>
            </a:fld>
            <a:endParaRPr lang="lt-LT"/>
          </a:p>
        </p:txBody>
      </p:sp>
      <p:pic>
        <p:nvPicPr>
          <p:cNvPr id="5" name="1 Compressed - Slide 8">
            <a:hlinkClick r:id="" action="ppaction://media"/>
            <a:extLst>
              <a:ext uri="{FF2B5EF4-FFF2-40B4-BE49-F238E27FC236}">
                <a16:creationId xmlns:a16="http://schemas.microsoft.com/office/drawing/2014/main" id="{DE9949E4-4745-D7C8-361D-C452C7075E9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-29335"/>
            <a:ext cx="24382411" cy="13736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302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508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par>
              <p:cTn id="7"/>
            </p:par>
            <p:video>
              <p:cMediaNode vol="80000">
                <p:cTn id="8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ounded Rectangle 78">
            <a:extLst>
              <a:ext uri="{FF2B5EF4-FFF2-40B4-BE49-F238E27FC236}">
                <a16:creationId xmlns:a16="http://schemas.microsoft.com/office/drawing/2014/main" id="{F37D454D-6376-983F-CF19-E05FB0E68692}"/>
              </a:ext>
            </a:extLst>
          </p:cNvPr>
          <p:cNvSpPr/>
          <p:nvPr/>
        </p:nvSpPr>
        <p:spPr>
          <a:xfrm>
            <a:off x="13608079" y="1079500"/>
            <a:ext cx="8294492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8" name="Rounded Rectangle 77">
            <a:extLst>
              <a:ext uri="{FF2B5EF4-FFF2-40B4-BE49-F238E27FC236}">
                <a16:creationId xmlns:a16="http://schemas.microsoft.com/office/drawing/2014/main" id="{C2F08491-E38C-2008-DA7F-804C6CB4BECB}"/>
              </a:ext>
            </a:extLst>
          </p:cNvPr>
          <p:cNvSpPr/>
          <p:nvPr/>
        </p:nvSpPr>
        <p:spPr>
          <a:xfrm>
            <a:off x="2492541" y="1100627"/>
            <a:ext cx="8294492" cy="14295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825991E-11BD-C2B5-AAE4-4F6F852CA2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7CFB742-2CDC-89BE-63F0-1A0BBFFFE6D3}"/>
              </a:ext>
            </a:extLst>
          </p:cNvPr>
          <p:cNvSpPr/>
          <p:nvPr/>
        </p:nvSpPr>
        <p:spPr>
          <a:xfrm>
            <a:off x="13579475" y="3953192"/>
            <a:ext cx="8320087" cy="8681721"/>
          </a:xfrm>
          <a:prstGeom prst="roundRect">
            <a:avLst>
              <a:gd name="adj" fmla="val 5121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40E3E61-BF33-2961-2ADA-8B406642B693}"/>
              </a:ext>
            </a:extLst>
          </p:cNvPr>
          <p:cNvSpPr/>
          <p:nvPr/>
        </p:nvSpPr>
        <p:spPr>
          <a:xfrm>
            <a:off x="2468563" y="3953192"/>
            <a:ext cx="8320087" cy="8681721"/>
          </a:xfrm>
          <a:prstGeom prst="roundRect">
            <a:avLst>
              <a:gd name="adj" fmla="val 5121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D3BFFD-1E4B-AE05-2ACB-2E5D47255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9</a:t>
            </a:fld>
            <a:endParaRPr lang="lt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5BE8DF-A59C-4B3D-98B7-89B49033829B}"/>
              </a:ext>
            </a:extLst>
          </p:cNvPr>
          <p:cNvSpPr txBox="1"/>
          <p:nvPr/>
        </p:nvSpPr>
        <p:spPr>
          <a:xfrm>
            <a:off x="3722798" y="4430304"/>
            <a:ext cx="729293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System Font Regular"/>
              <a:buChar char="‣"/>
            </a:pPr>
            <a:r>
              <a:rPr lang="en-US" sz="4400" b="1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entralized</a:t>
            </a:r>
            <a:endParaRPr lang="en-US" sz="4400" b="1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losed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ontrolled by central banks and governments</a:t>
            </a:r>
          </a:p>
          <a:p>
            <a:pPr marL="571500" indent="-571500">
              <a:buFont typeface="System Font Regular"/>
              <a:buChar char="‣"/>
            </a:pPr>
            <a:r>
              <a:rPr lang="en-US" sz="44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nlimited Suppl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DBFA0F-0634-95AF-75D0-A78915FCCCD1}"/>
              </a:ext>
            </a:extLst>
          </p:cNvPr>
          <p:cNvSpPr txBox="1"/>
          <p:nvPr/>
        </p:nvSpPr>
        <p:spPr>
          <a:xfrm>
            <a:off x="14910594" y="4430304"/>
            <a:ext cx="694372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System Font Regular"/>
              <a:buChar char="‣"/>
            </a:pPr>
            <a:r>
              <a:rPr lang="en-US" sz="4400" b="1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Decentralized</a:t>
            </a:r>
            <a:endParaRPr lang="en-US" sz="4400" b="1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Open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Peer to peer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Uncounterfeitabl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init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5FD3137-C891-357E-B065-49420E2A4F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3242" y="8531893"/>
            <a:ext cx="3739983" cy="37399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2438050-FBA3-5D90-869F-3F9AEEAEE48F}"/>
              </a:ext>
            </a:extLst>
          </p:cNvPr>
          <p:cNvSpPr txBox="1"/>
          <p:nvPr/>
        </p:nvSpPr>
        <p:spPr>
          <a:xfrm>
            <a:off x="3056133" y="951230"/>
            <a:ext cx="73452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Fiat System</a:t>
            </a:r>
            <a:endParaRPr lang="en-US" sz="9600" b="1" dirty="0">
              <a:solidFill>
                <a:srgbClr val="5E378E"/>
              </a:solidFill>
              <a:latin typeface="Ubuntu" panose="020B0304030602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98ECBB-DE38-03D1-C672-89E009AF1309}"/>
              </a:ext>
            </a:extLst>
          </p:cNvPr>
          <p:cNvSpPr txBox="1"/>
          <p:nvPr/>
        </p:nvSpPr>
        <p:spPr>
          <a:xfrm>
            <a:off x="15702963" y="951230"/>
            <a:ext cx="73452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E9A63F-41FA-3A0E-8CD1-2DFF9A315EBA}"/>
              </a:ext>
            </a:extLst>
          </p:cNvPr>
          <p:cNvSpPr txBox="1"/>
          <p:nvPr/>
        </p:nvSpPr>
        <p:spPr>
          <a:xfrm>
            <a:off x="11255747" y="951230"/>
            <a:ext cx="18836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VS</a:t>
            </a:r>
            <a:endParaRPr lang="en-US" sz="9600" b="1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44A92C9F-43E6-D88B-B39F-55C348DF2A30}"/>
              </a:ext>
            </a:extLst>
          </p:cNvPr>
          <p:cNvSpPr/>
          <p:nvPr/>
        </p:nvSpPr>
        <p:spPr>
          <a:xfrm rot="10800000">
            <a:off x="10907791" y="1544117"/>
            <a:ext cx="454397" cy="515389"/>
          </a:xfrm>
          <a:prstGeom prst="rightArrow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58828C06-3549-56E9-2D8E-FF9560A53025}"/>
              </a:ext>
            </a:extLst>
          </p:cNvPr>
          <p:cNvSpPr/>
          <p:nvPr/>
        </p:nvSpPr>
        <p:spPr>
          <a:xfrm>
            <a:off x="13018608" y="1478365"/>
            <a:ext cx="454397" cy="515389"/>
          </a:xfrm>
          <a:prstGeom prst="rightArrow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763A9ED-F48F-4464-9EDB-6587C0191F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817968" y="9834532"/>
            <a:ext cx="6645339" cy="5060577"/>
          </a:xfrm>
          <a:prstGeom prst="rect">
            <a:avLst/>
          </a:prstGeom>
        </p:spPr>
      </p:pic>
      <p:sp>
        <p:nvSpPr>
          <p:cNvPr id="62" name="Freeform 61">
            <a:extLst>
              <a:ext uri="{FF2B5EF4-FFF2-40B4-BE49-F238E27FC236}">
                <a16:creationId xmlns:a16="http://schemas.microsoft.com/office/drawing/2014/main" id="{4C371468-E0C9-AD12-917B-F0626E96C84E}"/>
              </a:ext>
            </a:extLst>
          </p:cNvPr>
          <p:cNvSpPr/>
          <p:nvPr/>
        </p:nvSpPr>
        <p:spPr>
          <a:xfrm>
            <a:off x="12647124" y="9944216"/>
            <a:ext cx="177" cy="346"/>
          </a:xfrm>
          <a:custGeom>
            <a:avLst/>
            <a:gdLst>
              <a:gd name="connsiteX0" fmla="*/ 0 w 177"/>
              <a:gd name="connsiteY0" fmla="*/ 0 h 346"/>
              <a:gd name="connsiteX1" fmla="*/ 99 w 177"/>
              <a:gd name="connsiteY1" fmla="*/ 152 h 346"/>
              <a:gd name="connsiteX2" fmla="*/ 177 w 177"/>
              <a:gd name="connsiteY2" fmla="*/ 346 h 346"/>
              <a:gd name="connsiteX3" fmla="*/ 0 w 177"/>
              <a:gd name="connsiteY3" fmla="*/ 0 h 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" h="346">
                <a:moveTo>
                  <a:pt x="0" y="0"/>
                </a:moveTo>
                <a:lnTo>
                  <a:pt x="99" y="152"/>
                </a:lnTo>
                <a:lnTo>
                  <a:pt x="177" y="3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965CED65-B421-794F-DD3D-3569D3DDE742}"/>
              </a:ext>
            </a:extLst>
          </p:cNvPr>
          <p:cNvSpPr/>
          <p:nvPr/>
        </p:nvSpPr>
        <p:spPr>
          <a:xfrm>
            <a:off x="15801352" y="9777812"/>
            <a:ext cx="178" cy="347"/>
          </a:xfrm>
          <a:custGeom>
            <a:avLst/>
            <a:gdLst>
              <a:gd name="connsiteX0" fmla="*/ 0 w 178"/>
              <a:gd name="connsiteY0" fmla="*/ 0 h 347"/>
              <a:gd name="connsiteX1" fmla="*/ 178 w 178"/>
              <a:gd name="connsiteY1" fmla="*/ 347 h 347"/>
              <a:gd name="connsiteX2" fmla="*/ 93 w 178"/>
              <a:gd name="connsiteY2" fmla="*/ 239 h 347"/>
              <a:gd name="connsiteX3" fmla="*/ 0 w 178"/>
              <a:gd name="connsiteY3" fmla="*/ 0 h 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8" h="347">
                <a:moveTo>
                  <a:pt x="0" y="0"/>
                </a:moveTo>
                <a:lnTo>
                  <a:pt x="178" y="347"/>
                </a:lnTo>
                <a:lnTo>
                  <a:pt x="93" y="23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7" name="Freeform 76">
            <a:extLst>
              <a:ext uri="{FF2B5EF4-FFF2-40B4-BE49-F238E27FC236}">
                <a16:creationId xmlns:a16="http://schemas.microsoft.com/office/drawing/2014/main" id="{16EAE92D-6410-C230-A55D-07A1F8DD65D8}"/>
              </a:ext>
            </a:extLst>
          </p:cNvPr>
          <p:cNvSpPr/>
          <p:nvPr/>
        </p:nvSpPr>
        <p:spPr>
          <a:xfrm rot="1800000">
            <a:off x="15711503" y="8286438"/>
            <a:ext cx="3728240" cy="4663634"/>
          </a:xfrm>
          <a:custGeom>
            <a:avLst/>
            <a:gdLst>
              <a:gd name="connsiteX0" fmla="*/ 750082 w 4507308"/>
              <a:gd name="connsiteY0" fmla="*/ 5203447 h 5638165"/>
              <a:gd name="connsiteX1" fmla="*/ 723498 w 4507308"/>
              <a:gd name="connsiteY1" fmla="*/ 5427853 h 5638165"/>
              <a:gd name="connsiteX2" fmla="*/ 974784 w 4507308"/>
              <a:gd name="connsiteY2" fmla="*/ 5487867 h 5638165"/>
              <a:gd name="connsiteX3" fmla="*/ 1058847 w 4507308"/>
              <a:gd name="connsiteY3" fmla="*/ 5304219 h 5638165"/>
              <a:gd name="connsiteX4" fmla="*/ 1033395 w 4507308"/>
              <a:gd name="connsiteY4" fmla="*/ 5236546 h 5638165"/>
              <a:gd name="connsiteX5" fmla="*/ 777882 w 4507308"/>
              <a:gd name="connsiteY5" fmla="*/ 5181509 h 5638165"/>
              <a:gd name="connsiteX6" fmla="*/ 750082 w 4507308"/>
              <a:gd name="connsiteY6" fmla="*/ 5203447 h 5638165"/>
              <a:gd name="connsiteX7" fmla="*/ 3524725 w 4507308"/>
              <a:gd name="connsiteY7" fmla="*/ 2675324 h 5638165"/>
              <a:gd name="connsiteX8" fmla="*/ 3474312 w 4507308"/>
              <a:gd name="connsiteY8" fmla="*/ 2745087 h 5638165"/>
              <a:gd name="connsiteX9" fmla="*/ 3577045 w 4507308"/>
              <a:gd name="connsiteY9" fmla="*/ 3024665 h 5638165"/>
              <a:gd name="connsiteX10" fmla="*/ 3862143 w 4507308"/>
              <a:gd name="connsiteY10" fmla="*/ 2920897 h 5638165"/>
              <a:gd name="connsiteX11" fmla="*/ 3757873 w 4507308"/>
              <a:gd name="connsiteY11" fmla="*/ 2638970 h 5638165"/>
              <a:gd name="connsiteX12" fmla="*/ 3524725 w 4507308"/>
              <a:gd name="connsiteY12" fmla="*/ 2675324 h 5638165"/>
              <a:gd name="connsiteX13" fmla="*/ 1808713 w 4507308"/>
              <a:gd name="connsiteY13" fmla="*/ 3804328 h 5638165"/>
              <a:gd name="connsiteX14" fmla="*/ 1754397 w 4507308"/>
              <a:gd name="connsiteY14" fmla="*/ 4191843 h 5638165"/>
              <a:gd name="connsiteX15" fmla="*/ 2180373 w 4507308"/>
              <a:gd name="connsiteY15" fmla="*/ 4293483 h 5638165"/>
              <a:gd name="connsiteX16" fmla="*/ 2323484 w 4507308"/>
              <a:gd name="connsiteY16" fmla="*/ 3985738 h 5638165"/>
              <a:gd name="connsiteX17" fmla="*/ 2281614 w 4507308"/>
              <a:gd name="connsiteY17" fmla="*/ 3870522 h 5638165"/>
              <a:gd name="connsiteX18" fmla="*/ 1859050 w 4507308"/>
              <a:gd name="connsiteY18" fmla="*/ 3766266 h 5638165"/>
              <a:gd name="connsiteX19" fmla="*/ 1808713 w 4507308"/>
              <a:gd name="connsiteY19" fmla="*/ 3804328 h 5638165"/>
              <a:gd name="connsiteX20" fmla="*/ 731292 w 4507308"/>
              <a:gd name="connsiteY20" fmla="*/ 3912451 h 5638165"/>
              <a:gd name="connsiteX21" fmla="*/ 554164 w 4507308"/>
              <a:gd name="connsiteY21" fmla="*/ 4158520 h 5638165"/>
              <a:gd name="connsiteX22" fmla="*/ 553834 w 4507308"/>
              <a:gd name="connsiteY22" fmla="*/ 4158728 h 5638165"/>
              <a:gd name="connsiteX23" fmla="*/ 839236 w 4507308"/>
              <a:gd name="connsiteY23" fmla="*/ 5021994 h 5638165"/>
              <a:gd name="connsiteX24" fmla="*/ 990001 w 4507308"/>
              <a:gd name="connsiteY24" fmla="*/ 5052015 h 5638165"/>
              <a:gd name="connsiteX25" fmla="*/ 1047883 w 4507308"/>
              <a:gd name="connsiteY25" fmla="*/ 5035698 h 5638165"/>
              <a:gd name="connsiteX26" fmla="*/ 1476532 w 4507308"/>
              <a:gd name="connsiteY26" fmla="*/ 4550443 h 5638165"/>
              <a:gd name="connsiteX27" fmla="*/ 1687877 w 4507308"/>
              <a:gd name="connsiteY27" fmla="*/ 4310389 h 5638165"/>
              <a:gd name="connsiteX28" fmla="*/ 1586874 w 4507308"/>
              <a:gd name="connsiteY28" fmla="*/ 4050767 h 5638165"/>
              <a:gd name="connsiteX29" fmla="*/ 3966434 w 4507308"/>
              <a:gd name="connsiteY29" fmla="*/ 853149 h 5638165"/>
              <a:gd name="connsiteX30" fmla="*/ 3911771 w 4507308"/>
              <a:gd name="connsiteY30" fmla="*/ 933201 h 5638165"/>
              <a:gd name="connsiteX31" fmla="*/ 4044766 w 4507308"/>
              <a:gd name="connsiteY31" fmla="*/ 1254036 h 5638165"/>
              <a:gd name="connsiteX32" fmla="*/ 4362171 w 4507308"/>
              <a:gd name="connsiteY32" fmla="*/ 1119156 h 5638165"/>
              <a:gd name="connsiteX33" fmla="*/ 4309854 w 4507308"/>
              <a:gd name="connsiteY33" fmla="*/ 856823 h 5638165"/>
              <a:gd name="connsiteX34" fmla="*/ 4230990 w 4507308"/>
              <a:gd name="connsiteY34" fmla="*/ 803356 h 5638165"/>
              <a:gd name="connsiteX35" fmla="*/ 4231232 w 4507308"/>
              <a:gd name="connsiteY35" fmla="*/ 803430 h 5638165"/>
              <a:gd name="connsiteX36" fmla="*/ 4230874 w 4507308"/>
              <a:gd name="connsiteY36" fmla="*/ 803278 h 5638165"/>
              <a:gd name="connsiteX37" fmla="*/ 4230990 w 4507308"/>
              <a:gd name="connsiteY37" fmla="*/ 803356 h 5638165"/>
              <a:gd name="connsiteX38" fmla="*/ 4183744 w 4507308"/>
              <a:gd name="connsiteY38" fmla="*/ 788963 h 5638165"/>
              <a:gd name="connsiteX39" fmla="*/ 3966434 w 4507308"/>
              <a:gd name="connsiteY39" fmla="*/ 853149 h 5638165"/>
              <a:gd name="connsiteX40" fmla="*/ 1861049 w 4507308"/>
              <a:gd name="connsiteY40" fmla="*/ 2650913 h 5638165"/>
              <a:gd name="connsiteX41" fmla="*/ 1819636 w 4507308"/>
              <a:gd name="connsiteY41" fmla="*/ 2710751 h 5638165"/>
              <a:gd name="connsiteX42" fmla="*/ 1854785 w 4507308"/>
              <a:gd name="connsiteY42" fmla="*/ 2909273 h 5638165"/>
              <a:gd name="connsiteX43" fmla="*/ 1914553 w 4507308"/>
              <a:gd name="connsiteY43" fmla="*/ 2950547 h 5638165"/>
              <a:gd name="connsiteX44" fmla="*/ 1914355 w 4507308"/>
              <a:gd name="connsiteY44" fmla="*/ 2950506 h 5638165"/>
              <a:gd name="connsiteX45" fmla="*/ 1914714 w 4507308"/>
              <a:gd name="connsiteY45" fmla="*/ 2950659 h 5638165"/>
              <a:gd name="connsiteX46" fmla="*/ 1914553 w 4507308"/>
              <a:gd name="connsiteY46" fmla="*/ 2950547 h 5638165"/>
              <a:gd name="connsiteX47" fmla="*/ 1984139 w 4507308"/>
              <a:gd name="connsiteY47" fmla="*/ 2965173 h 5638165"/>
              <a:gd name="connsiteX48" fmla="*/ 2152478 w 4507308"/>
              <a:gd name="connsiteY48" fmla="*/ 2857631 h 5638165"/>
              <a:gd name="connsiteX49" fmla="*/ 2059443 w 4507308"/>
              <a:gd name="connsiteY49" fmla="*/ 2616900 h 5638165"/>
              <a:gd name="connsiteX50" fmla="*/ 1861049 w 4507308"/>
              <a:gd name="connsiteY50" fmla="*/ 2650913 h 5638165"/>
              <a:gd name="connsiteX51" fmla="*/ 2845818 w 4507308"/>
              <a:gd name="connsiteY51" fmla="*/ 1611290 h 5638165"/>
              <a:gd name="connsiteX52" fmla="*/ 2774662 w 4507308"/>
              <a:gd name="connsiteY52" fmla="*/ 1711218 h 5638165"/>
              <a:gd name="connsiteX53" fmla="*/ 2933059 w 4507308"/>
              <a:gd name="connsiteY53" fmla="*/ 2119503 h 5638165"/>
              <a:gd name="connsiteX54" fmla="*/ 3338637 w 4507308"/>
              <a:gd name="connsiteY54" fmla="*/ 1962493 h 5638165"/>
              <a:gd name="connsiteX55" fmla="*/ 3184332 w 4507308"/>
              <a:gd name="connsiteY55" fmla="*/ 1555529 h 5638165"/>
              <a:gd name="connsiteX56" fmla="*/ 2845818 w 4507308"/>
              <a:gd name="connsiteY56" fmla="*/ 1611290 h 5638165"/>
              <a:gd name="connsiteX57" fmla="*/ 197439 w 4507308"/>
              <a:gd name="connsiteY57" fmla="*/ 3659920 h 5638165"/>
              <a:gd name="connsiteX58" fmla="*/ 160299 w 4507308"/>
              <a:gd name="connsiteY58" fmla="*/ 3967002 h 5638165"/>
              <a:gd name="connsiteX59" fmla="*/ 500106 w 4507308"/>
              <a:gd name="connsiteY59" fmla="*/ 4043858 h 5638165"/>
              <a:gd name="connsiteX60" fmla="*/ 610691 w 4507308"/>
              <a:gd name="connsiteY60" fmla="*/ 3796075 h 5638165"/>
              <a:gd name="connsiteX61" fmla="*/ 575440 w 4507308"/>
              <a:gd name="connsiteY61" fmla="*/ 3704553 h 5638165"/>
              <a:gd name="connsiteX62" fmla="*/ 575232 w 4507308"/>
              <a:gd name="connsiteY62" fmla="*/ 3704224 h 5638165"/>
              <a:gd name="connsiteX63" fmla="*/ 235805 w 4507308"/>
              <a:gd name="connsiteY63" fmla="*/ 3629429 h 5638165"/>
              <a:gd name="connsiteX64" fmla="*/ 197439 w 4507308"/>
              <a:gd name="connsiteY64" fmla="*/ 3659920 h 5638165"/>
              <a:gd name="connsiteX65" fmla="*/ 1212331 w 4507308"/>
              <a:gd name="connsiteY65" fmla="*/ 1507184 h 5638165"/>
              <a:gd name="connsiteX66" fmla="*/ 1171807 w 4507308"/>
              <a:gd name="connsiteY66" fmla="*/ 1565179 h 5638165"/>
              <a:gd name="connsiteX67" fmla="*/ 1265200 w 4507308"/>
              <a:gd name="connsiteY67" fmla="*/ 1806062 h 5638165"/>
              <a:gd name="connsiteX68" fmla="*/ 1505314 w 4507308"/>
              <a:gd name="connsiteY68" fmla="*/ 1711495 h 5638165"/>
              <a:gd name="connsiteX69" fmla="*/ 1405425 w 4507308"/>
              <a:gd name="connsiteY69" fmla="*/ 1469961 h 5638165"/>
              <a:gd name="connsiteX70" fmla="*/ 1212331 w 4507308"/>
              <a:gd name="connsiteY70" fmla="*/ 1507184 h 5638165"/>
              <a:gd name="connsiteX71" fmla="*/ 2119768 w 4507308"/>
              <a:gd name="connsiteY71" fmla="*/ 704462 h 5638165"/>
              <a:gd name="connsiteX72" fmla="*/ 1571551 w 4507308"/>
              <a:gd name="connsiteY72" fmla="*/ 1429814 h 5638165"/>
              <a:gd name="connsiteX73" fmla="*/ 1632508 w 4507308"/>
              <a:gd name="connsiteY73" fmla="*/ 1570937 h 5638165"/>
              <a:gd name="connsiteX74" fmla="*/ 1678824 w 4507308"/>
              <a:gd name="connsiteY74" fmla="*/ 1609297 h 5638165"/>
              <a:gd name="connsiteX75" fmla="*/ 2321693 w 4507308"/>
              <a:gd name="connsiteY75" fmla="*/ 1686315 h 5638165"/>
              <a:gd name="connsiteX76" fmla="*/ 2639317 w 4507308"/>
              <a:gd name="connsiteY76" fmla="*/ 1723834 h 5638165"/>
              <a:gd name="connsiteX77" fmla="*/ 2795570 w 4507308"/>
              <a:gd name="connsiteY77" fmla="*/ 1493206 h 5638165"/>
              <a:gd name="connsiteX78" fmla="*/ 2423259 w 4507308"/>
              <a:gd name="connsiteY78" fmla="*/ 710559 h 5638165"/>
              <a:gd name="connsiteX79" fmla="*/ 2120126 w 4507308"/>
              <a:gd name="connsiteY79" fmla="*/ 704614 h 5638165"/>
              <a:gd name="connsiteX80" fmla="*/ 2109010 w 4507308"/>
              <a:gd name="connsiteY80" fmla="*/ 192396 h 5638165"/>
              <a:gd name="connsiteX81" fmla="*/ 2053937 w 4507308"/>
              <a:gd name="connsiteY81" fmla="*/ 271684 h 5638165"/>
              <a:gd name="connsiteX82" fmla="*/ 2183768 w 4507308"/>
              <a:gd name="connsiteY82" fmla="*/ 594981 h 5638165"/>
              <a:gd name="connsiteX83" fmla="*/ 2505784 w 4507308"/>
              <a:gd name="connsiteY83" fmla="*/ 464183 h 5638165"/>
              <a:gd name="connsiteX84" fmla="*/ 2505936 w 4507308"/>
              <a:gd name="connsiteY84" fmla="*/ 463825 h 5638165"/>
              <a:gd name="connsiteX85" fmla="*/ 2374627 w 4507308"/>
              <a:gd name="connsiteY85" fmla="*/ 142013 h 5638165"/>
              <a:gd name="connsiteX86" fmla="*/ 2109010 w 4507308"/>
              <a:gd name="connsiteY86" fmla="*/ 192396 h 5638165"/>
              <a:gd name="connsiteX87" fmla="*/ 2037009 w 4507308"/>
              <a:gd name="connsiteY87" fmla="*/ 91824 h 5638165"/>
              <a:gd name="connsiteX88" fmla="*/ 2447026 w 4507308"/>
              <a:gd name="connsiteY88" fmla="*/ 38653 h 5638165"/>
              <a:gd name="connsiteX89" fmla="*/ 2638078 w 4507308"/>
              <a:gd name="connsiteY89" fmla="*/ 458733 h 5638165"/>
              <a:gd name="connsiteX90" fmla="*/ 2547084 w 4507308"/>
              <a:gd name="connsiteY90" fmla="*/ 620640 h 5638165"/>
              <a:gd name="connsiteX91" fmla="*/ 2538176 w 4507308"/>
              <a:gd name="connsiteY91" fmla="*/ 663413 h 5638165"/>
              <a:gd name="connsiteX92" fmla="*/ 2895652 w 4507308"/>
              <a:gd name="connsiteY92" fmla="*/ 1420265 h 5638165"/>
              <a:gd name="connsiteX93" fmla="*/ 2904171 w 4507308"/>
              <a:gd name="connsiteY93" fmla="*/ 1434057 h 5638165"/>
              <a:gd name="connsiteX94" fmla="*/ 3353491 w 4507308"/>
              <a:gd name="connsiteY94" fmla="*/ 1522178 h 5638165"/>
              <a:gd name="connsiteX95" fmla="*/ 3381628 w 4507308"/>
              <a:gd name="connsiteY95" fmla="*/ 1502838 h 5638165"/>
              <a:gd name="connsiteX96" fmla="*/ 3774764 w 4507308"/>
              <a:gd name="connsiteY96" fmla="*/ 1196161 h 5638165"/>
              <a:gd name="connsiteX97" fmla="*/ 3790144 w 4507308"/>
              <a:gd name="connsiteY97" fmla="*/ 1142173 h 5638165"/>
              <a:gd name="connsiteX98" fmla="*/ 3870064 w 4507308"/>
              <a:gd name="connsiteY98" fmla="*/ 778688 h 5638165"/>
              <a:gd name="connsiteX99" fmla="*/ 4230181 w 4507308"/>
              <a:gd name="connsiteY99" fmla="*/ 671742 h 5638165"/>
              <a:gd name="connsiteX100" fmla="*/ 4252485 w 4507308"/>
              <a:gd name="connsiteY100" fmla="*/ 674045 h 5638165"/>
              <a:gd name="connsiteX101" fmla="*/ 4315908 w 4507308"/>
              <a:gd name="connsiteY101" fmla="*/ 701065 h 5638165"/>
              <a:gd name="connsiteX102" fmla="*/ 4315245 w 4507308"/>
              <a:gd name="connsiteY102" fmla="*/ 701629 h 5638165"/>
              <a:gd name="connsiteX103" fmla="*/ 4430182 w 4507308"/>
              <a:gd name="connsiteY103" fmla="*/ 806479 h 5638165"/>
              <a:gd name="connsiteX104" fmla="*/ 4388028 w 4507308"/>
              <a:gd name="connsiteY104" fmla="*/ 1299939 h 5638165"/>
              <a:gd name="connsiteX105" fmla="*/ 3891699 w 4507308"/>
              <a:gd name="connsiteY105" fmla="*/ 1302285 h 5638165"/>
              <a:gd name="connsiteX106" fmla="*/ 3867254 w 4507308"/>
              <a:gd name="connsiteY106" fmla="*/ 1279171 h 5638165"/>
              <a:gd name="connsiteX107" fmla="*/ 3432205 w 4507308"/>
              <a:gd name="connsiteY107" fmla="*/ 1619639 h 5638165"/>
              <a:gd name="connsiteX108" fmla="*/ 3329891 w 4507308"/>
              <a:gd name="connsiteY108" fmla="*/ 2176798 h 5638165"/>
              <a:gd name="connsiteX109" fmla="*/ 3534332 w 4507308"/>
              <a:gd name="connsiteY109" fmla="*/ 2521722 h 5638165"/>
              <a:gd name="connsiteX110" fmla="*/ 3994950 w 4507308"/>
              <a:gd name="connsiteY110" fmla="*/ 2749285 h 5638165"/>
              <a:gd name="connsiteX111" fmla="*/ 3759295 w 4507308"/>
              <a:gd name="connsiteY111" fmla="*/ 3157344 h 5638165"/>
              <a:gd name="connsiteX112" fmla="*/ 3332772 w 4507308"/>
              <a:gd name="connsiteY112" fmla="*/ 2873604 h 5638165"/>
              <a:gd name="connsiteX113" fmla="*/ 3023860 w 4507308"/>
              <a:gd name="connsiteY113" fmla="*/ 2867314 h 5638165"/>
              <a:gd name="connsiteX114" fmla="*/ 2330087 w 4507308"/>
              <a:gd name="connsiteY114" fmla="*/ 2854129 h 5638165"/>
              <a:gd name="connsiteX115" fmla="*/ 2270288 w 4507308"/>
              <a:gd name="connsiteY115" fmla="*/ 2895121 h 5638165"/>
              <a:gd name="connsiteX116" fmla="*/ 2045409 w 4507308"/>
              <a:gd name="connsiteY116" fmla="*/ 3089864 h 5638165"/>
              <a:gd name="connsiteX117" fmla="*/ 2022370 w 4507308"/>
              <a:gd name="connsiteY117" fmla="*/ 3092538 h 5638165"/>
              <a:gd name="connsiteX118" fmla="*/ 2052644 w 4507308"/>
              <a:gd name="connsiteY118" fmla="*/ 3598720 h 5638165"/>
              <a:gd name="connsiteX119" fmla="*/ 2452998 w 4507308"/>
              <a:gd name="connsiteY119" fmla="*/ 3999484 h 5638165"/>
              <a:gd name="connsiteX120" fmla="*/ 2456127 w 4507308"/>
              <a:gd name="connsiteY120" fmla="*/ 3999867 h 5638165"/>
              <a:gd name="connsiteX121" fmla="*/ 2447149 w 4507308"/>
              <a:gd name="connsiteY121" fmla="*/ 4046026 h 5638165"/>
              <a:gd name="connsiteX122" fmla="*/ 2441525 w 4507308"/>
              <a:gd name="connsiteY122" fmla="*/ 4120551 h 5638165"/>
              <a:gd name="connsiteX123" fmla="*/ 2183344 w 4507308"/>
              <a:gd name="connsiteY123" fmla="*/ 4429381 h 5638165"/>
              <a:gd name="connsiteX124" fmla="*/ 1779614 w 4507308"/>
              <a:gd name="connsiteY124" fmla="*/ 4390631 h 5638165"/>
              <a:gd name="connsiteX125" fmla="*/ 1685774 w 4507308"/>
              <a:gd name="connsiteY125" fmla="*/ 4495114 h 5638165"/>
              <a:gd name="connsiteX126" fmla="*/ 1144609 w 4507308"/>
              <a:gd name="connsiteY126" fmla="*/ 5106336 h 5638165"/>
              <a:gd name="connsiteX127" fmla="*/ 1138763 w 4507308"/>
              <a:gd name="connsiteY127" fmla="*/ 5173620 h 5638165"/>
              <a:gd name="connsiteX128" fmla="*/ 1040136 w 4507308"/>
              <a:gd name="connsiteY128" fmla="*/ 5591241 h 5638165"/>
              <a:gd name="connsiteX129" fmla="*/ 626696 w 4507308"/>
              <a:gd name="connsiteY129" fmla="*/ 5502874 h 5638165"/>
              <a:gd name="connsiteX130" fmla="*/ 697559 w 4507308"/>
              <a:gd name="connsiteY130" fmla="*/ 5089443 h 5638165"/>
              <a:gd name="connsiteX131" fmla="*/ 714954 w 4507308"/>
              <a:gd name="connsiteY131" fmla="*/ 5036052 h 5638165"/>
              <a:gd name="connsiteX132" fmla="*/ 448210 w 4507308"/>
              <a:gd name="connsiteY132" fmla="*/ 4227809 h 5638165"/>
              <a:gd name="connsiteX133" fmla="*/ 404018 w 4507308"/>
              <a:gd name="connsiteY133" fmla="*/ 4200912 h 5638165"/>
              <a:gd name="connsiteX134" fmla="*/ 15913 w 4507308"/>
              <a:gd name="connsiteY134" fmla="*/ 3941241 h 5638165"/>
              <a:gd name="connsiteX135" fmla="*/ 191885 w 4507308"/>
              <a:gd name="connsiteY135" fmla="*/ 3511124 h 5638165"/>
              <a:gd name="connsiteX136" fmla="*/ 646122 w 4507308"/>
              <a:gd name="connsiteY136" fmla="*/ 3592591 h 5638165"/>
              <a:gd name="connsiteX137" fmla="*/ 727655 w 4507308"/>
              <a:gd name="connsiteY137" fmla="*/ 3759464 h 5638165"/>
              <a:gd name="connsiteX138" fmla="*/ 757791 w 4507308"/>
              <a:gd name="connsiteY138" fmla="*/ 3791098 h 5638165"/>
              <a:gd name="connsiteX139" fmla="*/ 1583717 w 4507308"/>
              <a:gd name="connsiteY139" fmla="*/ 3926966 h 5638165"/>
              <a:gd name="connsiteX140" fmla="*/ 1599905 w 4507308"/>
              <a:gd name="connsiteY140" fmla="*/ 3927792 h 5638165"/>
              <a:gd name="connsiteX141" fmla="*/ 1927720 w 4507308"/>
              <a:gd name="connsiteY141" fmla="*/ 3608117 h 5638165"/>
              <a:gd name="connsiteX142" fmla="*/ 1927791 w 4507308"/>
              <a:gd name="connsiteY142" fmla="*/ 3573974 h 5638165"/>
              <a:gd name="connsiteX143" fmla="*/ 1899323 w 4507308"/>
              <a:gd name="connsiteY143" fmla="*/ 3085151 h 5638165"/>
              <a:gd name="connsiteX144" fmla="*/ 1860461 w 4507308"/>
              <a:gd name="connsiteY144" fmla="*/ 3074029 h 5638165"/>
              <a:gd name="connsiteX145" fmla="*/ 1685906 w 4507308"/>
              <a:gd name="connsiteY145" fmla="*/ 2666902 h 5638165"/>
              <a:gd name="connsiteX146" fmla="*/ 1991260 w 4507308"/>
              <a:gd name="connsiteY146" fmla="*/ 2468888 h 5638165"/>
              <a:gd name="connsiteX147" fmla="*/ 2277420 w 4507308"/>
              <a:gd name="connsiteY147" fmla="*/ 2691558 h 5638165"/>
              <a:gd name="connsiteX148" fmla="*/ 2334942 w 4507308"/>
              <a:gd name="connsiteY148" fmla="*/ 2733423 h 5638165"/>
              <a:gd name="connsiteX149" fmla="*/ 3304687 w 4507308"/>
              <a:gd name="connsiteY149" fmla="*/ 2750719 h 5638165"/>
              <a:gd name="connsiteX150" fmla="*/ 3357186 w 4507308"/>
              <a:gd name="connsiteY150" fmla="*/ 2715932 h 5638165"/>
              <a:gd name="connsiteX151" fmla="*/ 3430084 w 4507308"/>
              <a:gd name="connsiteY151" fmla="*/ 2583573 h 5638165"/>
              <a:gd name="connsiteX152" fmla="*/ 3223746 w 4507308"/>
              <a:gd name="connsiteY152" fmla="*/ 2236148 h 5638165"/>
              <a:gd name="connsiteX153" fmla="*/ 2822916 w 4507308"/>
              <a:gd name="connsiteY153" fmla="*/ 2199164 h 5638165"/>
              <a:gd name="connsiteX154" fmla="*/ 2625410 w 4507308"/>
              <a:gd name="connsiteY154" fmla="*/ 1844918 h 5638165"/>
              <a:gd name="connsiteX155" fmla="*/ 2486111 w 4507308"/>
              <a:gd name="connsiteY155" fmla="*/ 1827063 h 5638165"/>
              <a:gd name="connsiteX156" fmla="*/ 1675654 w 4507308"/>
              <a:gd name="connsiteY156" fmla="*/ 1729029 h 5638165"/>
              <a:gd name="connsiteX157" fmla="*/ 1616964 w 4507308"/>
              <a:gd name="connsiteY157" fmla="*/ 1762448 h 5638165"/>
              <a:gd name="connsiteX158" fmla="*/ 1217266 w 4507308"/>
              <a:gd name="connsiteY158" fmla="*/ 1918575 h 5638165"/>
              <a:gd name="connsiteX159" fmla="*/ 1055072 w 4507308"/>
              <a:gd name="connsiteY159" fmla="*/ 1528146 h 5638165"/>
              <a:gd name="connsiteX160" fmla="*/ 1435547 w 4507308"/>
              <a:gd name="connsiteY160" fmla="*/ 1351553 h 5638165"/>
              <a:gd name="connsiteX161" fmla="*/ 1489365 w 4507308"/>
              <a:gd name="connsiteY161" fmla="*/ 1335533 h 5638165"/>
              <a:gd name="connsiteX162" fmla="*/ 2002908 w 4507308"/>
              <a:gd name="connsiteY162" fmla="*/ 656792 h 5638165"/>
              <a:gd name="connsiteX163" fmla="*/ 1999931 w 4507308"/>
              <a:gd name="connsiteY163" fmla="*/ 605146 h 5638165"/>
              <a:gd name="connsiteX164" fmla="*/ 1993097 w 4507308"/>
              <a:gd name="connsiteY164" fmla="*/ 138233 h 5638165"/>
              <a:gd name="connsiteX165" fmla="*/ 2037009 w 4507308"/>
              <a:gd name="connsiteY165" fmla="*/ 91824 h 5638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4507308" h="5638165">
                <a:moveTo>
                  <a:pt x="750082" y="5203447"/>
                </a:moveTo>
                <a:cubicBezTo>
                  <a:pt x="691594" y="5260437"/>
                  <a:pt x="678364" y="5355185"/>
                  <a:pt x="723498" y="5427853"/>
                </a:cubicBezTo>
                <a:cubicBezTo>
                  <a:pt x="777161" y="5514194"/>
                  <a:pt x="888773" y="5541323"/>
                  <a:pt x="974784" y="5487867"/>
                </a:cubicBezTo>
                <a:cubicBezTo>
                  <a:pt x="1039292" y="5447778"/>
                  <a:pt x="1070027" y="5374350"/>
                  <a:pt x="1058847" y="5304219"/>
                </a:cubicBezTo>
                <a:cubicBezTo>
                  <a:pt x="1055120" y="5280842"/>
                  <a:pt x="1046737" y="5257832"/>
                  <a:pt x="1033395" y="5236546"/>
                </a:cubicBezTo>
                <a:cubicBezTo>
                  <a:pt x="978658" y="5149963"/>
                  <a:pt x="866441" y="5125522"/>
                  <a:pt x="777882" y="5181509"/>
                </a:cubicBezTo>
                <a:cubicBezTo>
                  <a:pt x="767718" y="5187935"/>
                  <a:pt x="758438" y="5195306"/>
                  <a:pt x="750082" y="5203447"/>
                </a:cubicBezTo>
                <a:close/>
                <a:moveTo>
                  <a:pt x="3524725" y="2675324"/>
                </a:moveTo>
                <a:cubicBezTo>
                  <a:pt x="3504198" y="2694315"/>
                  <a:pt x="3486912" y="2717749"/>
                  <a:pt x="3474312" y="2745087"/>
                </a:cubicBezTo>
                <a:cubicBezTo>
                  <a:pt x="3426359" y="2848701"/>
                  <a:pt x="3473583" y="2976352"/>
                  <a:pt x="3577045" y="3024665"/>
                </a:cubicBezTo>
                <a:cubicBezTo>
                  <a:pt x="3685165" y="3074960"/>
                  <a:pt x="3812511" y="3028454"/>
                  <a:pt x="3862143" y="2920897"/>
                </a:cubicBezTo>
                <a:cubicBezTo>
                  <a:pt x="3911013" y="2815132"/>
                  <a:pt x="3863843" y="2688350"/>
                  <a:pt x="3757873" y="2638970"/>
                </a:cubicBezTo>
                <a:cubicBezTo>
                  <a:pt x="3677050" y="2601363"/>
                  <a:pt x="3586306" y="2618349"/>
                  <a:pt x="3524725" y="2675324"/>
                </a:cubicBezTo>
                <a:close/>
                <a:moveTo>
                  <a:pt x="1808713" y="3804328"/>
                </a:moveTo>
                <a:cubicBezTo>
                  <a:pt x="1702562" y="3902815"/>
                  <a:pt x="1676649" y="4064397"/>
                  <a:pt x="1754397" y="4191843"/>
                </a:cubicBezTo>
                <a:cubicBezTo>
                  <a:pt x="1843667" y="4338157"/>
                  <a:pt x="2033073" y="4383380"/>
                  <a:pt x="2180373" y="4293483"/>
                </a:cubicBezTo>
                <a:cubicBezTo>
                  <a:pt x="2288872" y="4227310"/>
                  <a:pt x="2341367" y="4104528"/>
                  <a:pt x="2323484" y="3985738"/>
                </a:cubicBezTo>
                <a:cubicBezTo>
                  <a:pt x="2317525" y="3946140"/>
                  <a:pt x="2303746" y="3906987"/>
                  <a:pt x="2281614" y="3870522"/>
                </a:cubicBezTo>
                <a:cubicBezTo>
                  <a:pt x="2193713" y="3725648"/>
                  <a:pt x="2002521" y="3678329"/>
                  <a:pt x="1859050" y="3766266"/>
                </a:cubicBezTo>
                <a:cubicBezTo>
                  <a:pt x="1840679" y="3777476"/>
                  <a:pt x="1823877" y="3790259"/>
                  <a:pt x="1808713" y="3804328"/>
                </a:cubicBezTo>
                <a:close/>
                <a:moveTo>
                  <a:pt x="731292" y="3912451"/>
                </a:moveTo>
                <a:cubicBezTo>
                  <a:pt x="685558" y="4042738"/>
                  <a:pt x="669692" y="4064288"/>
                  <a:pt x="554164" y="4158520"/>
                </a:cubicBezTo>
                <a:lnTo>
                  <a:pt x="553834" y="4158728"/>
                </a:lnTo>
                <a:lnTo>
                  <a:pt x="839236" y="5021994"/>
                </a:lnTo>
                <a:cubicBezTo>
                  <a:pt x="895811" y="5032766"/>
                  <a:pt x="944431" y="5037512"/>
                  <a:pt x="990001" y="5052015"/>
                </a:cubicBezTo>
                <a:cubicBezTo>
                  <a:pt x="1017459" y="5060461"/>
                  <a:pt x="1030110" y="5055689"/>
                  <a:pt x="1047883" y="5035698"/>
                </a:cubicBezTo>
                <a:lnTo>
                  <a:pt x="1476532" y="4550443"/>
                </a:lnTo>
                <a:lnTo>
                  <a:pt x="1687877" y="4310389"/>
                </a:lnTo>
                <a:cubicBezTo>
                  <a:pt x="1626627" y="4233914"/>
                  <a:pt x="1593692" y="4148290"/>
                  <a:pt x="1586874" y="4050767"/>
                </a:cubicBezTo>
                <a:close/>
                <a:moveTo>
                  <a:pt x="3966434" y="853149"/>
                </a:moveTo>
                <a:cubicBezTo>
                  <a:pt x="3943780" y="875210"/>
                  <a:pt x="3925014" y="902116"/>
                  <a:pt x="3911771" y="933201"/>
                </a:cubicBezTo>
                <a:cubicBezTo>
                  <a:pt x="3858647" y="1057897"/>
                  <a:pt x="3918590" y="1202398"/>
                  <a:pt x="4044766" y="1254036"/>
                </a:cubicBezTo>
                <a:cubicBezTo>
                  <a:pt x="4168434" y="1304604"/>
                  <a:pt x="4310991" y="1244257"/>
                  <a:pt x="4362171" y="1119156"/>
                </a:cubicBezTo>
                <a:cubicBezTo>
                  <a:pt x="4399640" y="1027480"/>
                  <a:pt x="4375638" y="924140"/>
                  <a:pt x="4309854" y="856823"/>
                </a:cubicBezTo>
                <a:lnTo>
                  <a:pt x="4230990" y="803356"/>
                </a:lnTo>
                <a:lnTo>
                  <a:pt x="4231232" y="803430"/>
                </a:lnTo>
                <a:lnTo>
                  <a:pt x="4230874" y="803278"/>
                </a:lnTo>
                <a:lnTo>
                  <a:pt x="4230990" y="803356"/>
                </a:lnTo>
                <a:lnTo>
                  <a:pt x="4183744" y="788963"/>
                </a:lnTo>
                <a:cubicBezTo>
                  <a:pt x="4104016" y="773129"/>
                  <a:pt x="4023072" y="797998"/>
                  <a:pt x="3966434" y="853149"/>
                </a:cubicBezTo>
                <a:close/>
                <a:moveTo>
                  <a:pt x="1861049" y="2650913"/>
                </a:moveTo>
                <a:cubicBezTo>
                  <a:pt x="1843913" y="2667302"/>
                  <a:pt x="1829686" y="2687408"/>
                  <a:pt x="1819636" y="2710751"/>
                </a:cubicBezTo>
                <a:cubicBezTo>
                  <a:pt x="1789330" y="2780396"/>
                  <a:pt x="1805444" y="2857908"/>
                  <a:pt x="1854785" y="2909273"/>
                </a:cubicBezTo>
                <a:lnTo>
                  <a:pt x="1914553" y="2950547"/>
                </a:lnTo>
                <a:lnTo>
                  <a:pt x="1914355" y="2950506"/>
                </a:lnTo>
                <a:lnTo>
                  <a:pt x="1914714" y="2950659"/>
                </a:lnTo>
                <a:lnTo>
                  <a:pt x="1914553" y="2950547"/>
                </a:lnTo>
                <a:lnTo>
                  <a:pt x="1984139" y="2965173"/>
                </a:lnTo>
                <a:cubicBezTo>
                  <a:pt x="2054585" y="2965556"/>
                  <a:pt x="2122934" y="2924743"/>
                  <a:pt x="2152478" y="2857631"/>
                </a:cubicBezTo>
                <a:cubicBezTo>
                  <a:pt x="2193397" y="2764566"/>
                  <a:pt x="2151997" y="2658024"/>
                  <a:pt x="2059443" y="2616900"/>
                </a:cubicBezTo>
                <a:cubicBezTo>
                  <a:pt x="1990028" y="2586057"/>
                  <a:pt x="1912456" y="2601750"/>
                  <a:pt x="1861049" y="2650913"/>
                </a:cubicBezTo>
                <a:close/>
                <a:moveTo>
                  <a:pt x="2845818" y="1611290"/>
                </a:moveTo>
                <a:cubicBezTo>
                  <a:pt x="2816449" y="1638659"/>
                  <a:pt x="2792005" y="1672249"/>
                  <a:pt x="2774662" y="1711218"/>
                </a:cubicBezTo>
                <a:cubicBezTo>
                  <a:pt x="2704985" y="1867812"/>
                  <a:pt x="2775389" y="2049370"/>
                  <a:pt x="2933059" y="2119503"/>
                </a:cubicBezTo>
                <a:cubicBezTo>
                  <a:pt x="3087860" y="2188417"/>
                  <a:pt x="3268906" y="2118219"/>
                  <a:pt x="3338637" y="1962493"/>
                </a:cubicBezTo>
                <a:cubicBezTo>
                  <a:pt x="3407909" y="1807843"/>
                  <a:pt x="3338214" y="1623627"/>
                  <a:pt x="3184332" y="1555529"/>
                </a:cubicBezTo>
                <a:cubicBezTo>
                  <a:pt x="3066351" y="1503043"/>
                  <a:pt x="2933923" y="1529181"/>
                  <a:pt x="2845818" y="1611290"/>
                </a:cubicBezTo>
                <a:close/>
                <a:moveTo>
                  <a:pt x="197439" y="3659920"/>
                </a:moveTo>
                <a:cubicBezTo>
                  <a:pt x="116680" y="3738803"/>
                  <a:pt x="98122" y="3868014"/>
                  <a:pt x="160299" y="3967002"/>
                </a:cubicBezTo>
                <a:cubicBezTo>
                  <a:pt x="232518" y="4081239"/>
                  <a:pt x="385540" y="4116287"/>
                  <a:pt x="500106" y="4043858"/>
                </a:cubicBezTo>
                <a:cubicBezTo>
                  <a:pt x="586526" y="3989225"/>
                  <a:pt x="626784" y="3890682"/>
                  <a:pt x="610691" y="3796075"/>
                </a:cubicBezTo>
                <a:cubicBezTo>
                  <a:pt x="605327" y="3764540"/>
                  <a:pt x="593702" y="3733442"/>
                  <a:pt x="575440" y="3704553"/>
                </a:cubicBezTo>
                <a:lnTo>
                  <a:pt x="575232" y="3704224"/>
                </a:lnTo>
                <a:cubicBezTo>
                  <a:pt x="502385" y="3588998"/>
                  <a:pt x="350943" y="3555719"/>
                  <a:pt x="235805" y="3629429"/>
                </a:cubicBezTo>
                <a:cubicBezTo>
                  <a:pt x="221783" y="3638408"/>
                  <a:pt x="208976" y="3648650"/>
                  <a:pt x="197439" y="3659920"/>
                </a:cubicBezTo>
                <a:close/>
                <a:moveTo>
                  <a:pt x="1212331" y="1507184"/>
                </a:moveTo>
                <a:cubicBezTo>
                  <a:pt x="1195515" y="1523258"/>
                  <a:pt x="1181565" y="1542770"/>
                  <a:pt x="1171807" y="1565179"/>
                </a:cubicBezTo>
                <a:cubicBezTo>
                  <a:pt x="1131248" y="1658395"/>
                  <a:pt x="1172341" y="1765655"/>
                  <a:pt x="1265200" y="1806062"/>
                </a:cubicBezTo>
                <a:cubicBezTo>
                  <a:pt x="1358058" y="1846469"/>
                  <a:pt x="1465570" y="1803790"/>
                  <a:pt x="1505314" y="1711495"/>
                </a:cubicBezTo>
                <a:cubicBezTo>
                  <a:pt x="1545463" y="1617256"/>
                  <a:pt x="1501813" y="1511026"/>
                  <a:pt x="1405425" y="1469961"/>
                </a:cubicBezTo>
                <a:cubicBezTo>
                  <a:pt x="1339044" y="1441682"/>
                  <a:pt x="1262781" y="1458963"/>
                  <a:pt x="1212331" y="1507184"/>
                </a:cubicBezTo>
                <a:close/>
                <a:moveTo>
                  <a:pt x="2119768" y="704462"/>
                </a:moveTo>
                <a:cubicBezTo>
                  <a:pt x="1935363" y="948500"/>
                  <a:pt x="1750141" y="1193460"/>
                  <a:pt x="1571551" y="1429814"/>
                </a:cubicBezTo>
                <a:cubicBezTo>
                  <a:pt x="1594831" y="1482492"/>
                  <a:pt x="1618550" y="1525197"/>
                  <a:pt x="1632508" y="1570937"/>
                </a:cubicBezTo>
                <a:cubicBezTo>
                  <a:pt x="1641158" y="1598332"/>
                  <a:pt x="1652273" y="1606030"/>
                  <a:pt x="1678824" y="1609297"/>
                </a:cubicBezTo>
                <a:cubicBezTo>
                  <a:pt x="1893060" y="1634100"/>
                  <a:pt x="2107402" y="1660643"/>
                  <a:pt x="2321693" y="1686315"/>
                </a:cubicBezTo>
                <a:cubicBezTo>
                  <a:pt x="2426817" y="1698925"/>
                  <a:pt x="2531736" y="1711025"/>
                  <a:pt x="2639317" y="1723834"/>
                </a:cubicBezTo>
                <a:cubicBezTo>
                  <a:pt x="2667446" y="1629980"/>
                  <a:pt x="2719192" y="1554229"/>
                  <a:pt x="2795570" y="1493206"/>
                </a:cubicBezTo>
                <a:cubicBezTo>
                  <a:pt x="2670678" y="1230859"/>
                  <a:pt x="2546762" y="970198"/>
                  <a:pt x="2423259" y="710559"/>
                </a:cubicBezTo>
                <a:cubicBezTo>
                  <a:pt x="2290061" y="746952"/>
                  <a:pt x="2263312" y="746140"/>
                  <a:pt x="2120126" y="704614"/>
                </a:cubicBezTo>
                <a:close/>
                <a:moveTo>
                  <a:pt x="2109010" y="192396"/>
                </a:moveTo>
                <a:cubicBezTo>
                  <a:pt x="2086072" y="214329"/>
                  <a:pt x="2067117" y="240996"/>
                  <a:pt x="2053937" y="271684"/>
                </a:cubicBezTo>
                <a:cubicBezTo>
                  <a:pt x="2000966" y="396023"/>
                  <a:pt x="2059070" y="541858"/>
                  <a:pt x="2183768" y="594981"/>
                </a:cubicBezTo>
                <a:cubicBezTo>
                  <a:pt x="2309181" y="648411"/>
                  <a:pt x="2452202" y="589955"/>
                  <a:pt x="2505784" y="464183"/>
                </a:cubicBezTo>
                <a:lnTo>
                  <a:pt x="2505936" y="463825"/>
                </a:lnTo>
                <a:cubicBezTo>
                  <a:pt x="2559366" y="338411"/>
                  <a:pt x="2500703" y="194879"/>
                  <a:pt x="2374627" y="142013"/>
                </a:cubicBezTo>
                <a:cubicBezTo>
                  <a:pt x="2282489" y="103394"/>
                  <a:pt x="2177824" y="126596"/>
                  <a:pt x="2109010" y="192396"/>
                </a:cubicBezTo>
                <a:close/>
                <a:moveTo>
                  <a:pt x="2037009" y="91824"/>
                </a:moveTo>
                <a:cubicBezTo>
                  <a:pt x="2147148" y="-5893"/>
                  <a:pt x="2307621" y="-28888"/>
                  <a:pt x="2447026" y="38653"/>
                </a:cubicBezTo>
                <a:cubicBezTo>
                  <a:pt x="2599333" y="112430"/>
                  <a:pt x="2680414" y="288799"/>
                  <a:pt x="2638078" y="458733"/>
                </a:cubicBezTo>
                <a:cubicBezTo>
                  <a:pt x="2622815" y="520392"/>
                  <a:pt x="2592863" y="575792"/>
                  <a:pt x="2547084" y="620640"/>
                </a:cubicBezTo>
                <a:cubicBezTo>
                  <a:pt x="2533765" y="634018"/>
                  <a:pt x="2528981" y="644256"/>
                  <a:pt x="2538176" y="663413"/>
                </a:cubicBezTo>
                <a:cubicBezTo>
                  <a:pt x="2657727" y="915441"/>
                  <a:pt x="2776612" y="1168033"/>
                  <a:pt x="2895652" y="1420265"/>
                </a:cubicBezTo>
                <a:cubicBezTo>
                  <a:pt x="2897862" y="1425016"/>
                  <a:pt x="2900887" y="1428846"/>
                  <a:pt x="2904171" y="1434057"/>
                </a:cubicBezTo>
                <a:cubicBezTo>
                  <a:pt x="3069753" y="1379285"/>
                  <a:pt x="3219198" y="1406118"/>
                  <a:pt x="3353491" y="1522178"/>
                </a:cubicBezTo>
                <a:cubicBezTo>
                  <a:pt x="3363041" y="1515663"/>
                  <a:pt x="3372795" y="1509658"/>
                  <a:pt x="3381628" y="1502838"/>
                </a:cubicBezTo>
                <a:cubicBezTo>
                  <a:pt x="3512385" y="1400629"/>
                  <a:pt x="3643086" y="1297553"/>
                  <a:pt x="3774764" y="1196161"/>
                </a:cubicBezTo>
                <a:cubicBezTo>
                  <a:pt x="3796107" y="1179852"/>
                  <a:pt x="3797766" y="1167012"/>
                  <a:pt x="3790144" y="1142173"/>
                </a:cubicBezTo>
                <a:cubicBezTo>
                  <a:pt x="3748018" y="1006532"/>
                  <a:pt x="3774293" y="882252"/>
                  <a:pt x="3870064" y="778688"/>
                </a:cubicBezTo>
                <a:cubicBezTo>
                  <a:pt x="3967315" y="673636"/>
                  <a:pt x="4089829" y="639465"/>
                  <a:pt x="4230181" y="671742"/>
                </a:cubicBezTo>
                <a:cubicBezTo>
                  <a:pt x="4237449" y="673566"/>
                  <a:pt x="4244913" y="672937"/>
                  <a:pt x="4252485" y="674045"/>
                </a:cubicBezTo>
                <a:lnTo>
                  <a:pt x="4315908" y="701065"/>
                </a:lnTo>
                <a:lnTo>
                  <a:pt x="4315245" y="701629"/>
                </a:lnTo>
                <a:cubicBezTo>
                  <a:pt x="4353829" y="736273"/>
                  <a:pt x="4398593" y="766349"/>
                  <a:pt x="4430182" y="806479"/>
                </a:cubicBezTo>
                <a:cubicBezTo>
                  <a:pt x="4548288" y="957555"/>
                  <a:pt x="4528036" y="1172038"/>
                  <a:pt x="4388028" y="1299939"/>
                </a:cubicBezTo>
                <a:cubicBezTo>
                  <a:pt x="4246694" y="1428969"/>
                  <a:pt x="4034558" y="1430038"/>
                  <a:pt x="3891699" y="1302285"/>
                </a:cubicBezTo>
                <a:cubicBezTo>
                  <a:pt x="3884319" y="1295755"/>
                  <a:pt x="3877248" y="1288507"/>
                  <a:pt x="3867254" y="1279171"/>
                </a:cubicBezTo>
                <a:cubicBezTo>
                  <a:pt x="3721694" y="1393275"/>
                  <a:pt x="3576948" y="1506457"/>
                  <a:pt x="3432205" y="1619639"/>
                </a:cubicBezTo>
                <a:cubicBezTo>
                  <a:pt x="3532640" y="1830078"/>
                  <a:pt x="3498874" y="2014672"/>
                  <a:pt x="3329891" y="2176798"/>
                </a:cubicBezTo>
                <a:cubicBezTo>
                  <a:pt x="3397593" y="2291160"/>
                  <a:pt x="3466066" y="2406697"/>
                  <a:pt x="3534332" y="2521722"/>
                </a:cubicBezTo>
                <a:cubicBezTo>
                  <a:pt x="3770889" y="2437492"/>
                  <a:pt x="3954199" y="2587558"/>
                  <a:pt x="3994950" y="2749285"/>
                </a:cubicBezTo>
                <a:cubicBezTo>
                  <a:pt x="4039414" y="2926142"/>
                  <a:pt x="3934300" y="3108280"/>
                  <a:pt x="3759295" y="3157344"/>
                </a:cubicBezTo>
                <a:cubicBezTo>
                  <a:pt x="3600236" y="3201771"/>
                  <a:pt x="3381637" y="3122613"/>
                  <a:pt x="3332772" y="2873604"/>
                </a:cubicBezTo>
                <a:cubicBezTo>
                  <a:pt x="3230380" y="2871472"/>
                  <a:pt x="3127119" y="2869394"/>
                  <a:pt x="3023860" y="2867314"/>
                </a:cubicBezTo>
                <a:cubicBezTo>
                  <a:pt x="2792740" y="2863259"/>
                  <a:pt x="2561314" y="2859921"/>
                  <a:pt x="2330087" y="2854129"/>
                </a:cubicBezTo>
                <a:cubicBezTo>
                  <a:pt x="2296537" y="2853383"/>
                  <a:pt x="2282493" y="2863488"/>
                  <a:pt x="2270288" y="2895121"/>
                </a:cubicBezTo>
                <a:cubicBezTo>
                  <a:pt x="2229949" y="2999121"/>
                  <a:pt x="2144208" y="3068399"/>
                  <a:pt x="2045409" y="3089864"/>
                </a:cubicBezTo>
                <a:lnTo>
                  <a:pt x="2022370" y="3092538"/>
                </a:lnTo>
                <a:lnTo>
                  <a:pt x="2052644" y="3598720"/>
                </a:lnTo>
                <a:cubicBezTo>
                  <a:pt x="2282879" y="3635641"/>
                  <a:pt x="2415595" y="3768310"/>
                  <a:pt x="2452998" y="3999484"/>
                </a:cubicBezTo>
                <a:lnTo>
                  <a:pt x="2456127" y="3999867"/>
                </a:lnTo>
                <a:lnTo>
                  <a:pt x="2447149" y="4046026"/>
                </a:lnTo>
                <a:cubicBezTo>
                  <a:pt x="2444405" y="4067480"/>
                  <a:pt x="2442500" y="4092208"/>
                  <a:pt x="2441525" y="4120551"/>
                </a:cubicBezTo>
                <a:cubicBezTo>
                  <a:pt x="2405486" y="4265445"/>
                  <a:pt x="2321524" y="4372438"/>
                  <a:pt x="2183344" y="4429381"/>
                </a:cubicBezTo>
                <a:cubicBezTo>
                  <a:pt x="2045371" y="4486655"/>
                  <a:pt x="1910368" y="4470629"/>
                  <a:pt x="1779614" y="4390631"/>
                </a:cubicBezTo>
                <a:lnTo>
                  <a:pt x="1685774" y="4495114"/>
                </a:lnTo>
                <a:lnTo>
                  <a:pt x="1144609" y="5106336"/>
                </a:lnTo>
                <a:cubicBezTo>
                  <a:pt x="1123509" y="5129813"/>
                  <a:pt x="1120864" y="5145307"/>
                  <a:pt x="1138763" y="5173620"/>
                </a:cubicBezTo>
                <a:cubicBezTo>
                  <a:pt x="1227218" y="5313537"/>
                  <a:pt x="1181767" y="5498939"/>
                  <a:pt x="1040136" y="5591241"/>
                </a:cubicBezTo>
                <a:cubicBezTo>
                  <a:pt x="904553" y="5679260"/>
                  <a:pt x="721164" y="5639911"/>
                  <a:pt x="626696" y="5502874"/>
                </a:cubicBezTo>
                <a:cubicBezTo>
                  <a:pt x="535265" y="5369908"/>
                  <a:pt x="565896" y="5185120"/>
                  <a:pt x="697559" y="5089443"/>
                </a:cubicBezTo>
                <a:cubicBezTo>
                  <a:pt x="719443" y="5073764"/>
                  <a:pt x="723007" y="5060451"/>
                  <a:pt x="714954" y="5036052"/>
                </a:cubicBezTo>
                <a:cubicBezTo>
                  <a:pt x="625421" y="4766875"/>
                  <a:pt x="536218" y="4497488"/>
                  <a:pt x="448210" y="4227809"/>
                </a:cubicBezTo>
                <a:cubicBezTo>
                  <a:pt x="439949" y="4203078"/>
                  <a:pt x="428819" y="4198594"/>
                  <a:pt x="404018" y="4200912"/>
                </a:cubicBezTo>
                <a:cubicBezTo>
                  <a:pt x="225870" y="4217228"/>
                  <a:pt x="67566" y="4110412"/>
                  <a:pt x="15913" y="3941241"/>
                </a:cubicBezTo>
                <a:cubicBezTo>
                  <a:pt x="-34527" y="3775448"/>
                  <a:pt x="37843" y="3598370"/>
                  <a:pt x="191885" y="3511124"/>
                </a:cubicBezTo>
                <a:cubicBezTo>
                  <a:pt x="339136" y="3427711"/>
                  <a:pt x="530339" y="3461198"/>
                  <a:pt x="646122" y="3592591"/>
                </a:cubicBezTo>
                <a:cubicBezTo>
                  <a:pt x="688190" y="3640186"/>
                  <a:pt x="716760" y="3696311"/>
                  <a:pt x="727655" y="3759464"/>
                </a:cubicBezTo>
                <a:cubicBezTo>
                  <a:pt x="731096" y="3778025"/>
                  <a:pt x="736800" y="3787780"/>
                  <a:pt x="757791" y="3791098"/>
                </a:cubicBezTo>
                <a:lnTo>
                  <a:pt x="1583717" y="3926966"/>
                </a:lnTo>
                <a:cubicBezTo>
                  <a:pt x="1588881" y="3927847"/>
                  <a:pt x="1593753" y="3927533"/>
                  <a:pt x="1599905" y="3927792"/>
                </a:cubicBezTo>
                <a:cubicBezTo>
                  <a:pt x="1648916" y="3760413"/>
                  <a:pt x="1755910" y="3652681"/>
                  <a:pt x="1927720" y="3608117"/>
                </a:cubicBezTo>
                <a:cubicBezTo>
                  <a:pt x="1927784" y="3596555"/>
                  <a:pt x="1928386" y="3585117"/>
                  <a:pt x="1927791" y="3573974"/>
                </a:cubicBezTo>
                <a:lnTo>
                  <a:pt x="1899323" y="3085151"/>
                </a:lnTo>
                <a:lnTo>
                  <a:pt x="1860461" y="3074029"/>
                </a:lnTo>
                <a:cubicBezTo>
                  <a:pt x="1701478" y="3010954"/>
                  <a:pt x="1623761" y="2829668"/>
                  <a:pt x="1685906" y="2666902"/>
                </a:cubicBezTo>
                <a:cubicBezTo>
                  <a:pt x="1732082" y="2545596"/>
                  <a:pt x="1858330" y="2463906"/>
                  <a:pt x="1991260" y="2468888"/>
                </a:cubicBezTo>
                <a:cubicBezTo>
                  <a:pt x="2123677" y="2474075"/>
                  <a:pt x="2242061" y="2563881"/>
                  <a:pt x="2277420" y="2691558"/>
                </a:cubicBezTo>
                <a:cubicBezTo>
                  <a:pt x="2286853" y="2726059"/>
                  <a:pt x="2302108" y="2732983"/>
                  <a:pt x="2334942" y="2733423"/>
                </a:cubicBezTo>
                <a:cubicBezTo>
                  <a:pt x="2658220" y="2737790"/>
                  <a:pt x="2981248" y="2743744"/>
                  <a:pt x="3304687" y="2750719"/>
                </a:cubicBezTo>
                <a:cubicBezTo>
                  <a:pt x="3333684" y="2751219"/>
                  <a:pt x="3345530" y="2742295"/>
                  <a:pt x="3357186" y="2715932"/>
                </a:cubicBezTo>
                <a:cubicBezTo>
                  <a:pt x="3375963" y="2671858"/>
                  <a:pt x="3403339" y="2631448"/>
                  <a:pt x="3430084" y="2583573"/>
                </a:cubicBezTo>
                <a:cubicBezTo>
                  <a:pt x="3364744" y="2473604"/>
                  <a:pt x="3294938" y="2356229"/>
                  <a:pt x="3223746" y="2236148"/>
                </a:cubicBezTo>
                <a:cubicBezTo>
                  <a:pt x="3084037" y="2288817"/>
                  <a:pt x="2948287" y="2280518"/>
                  <a:pt x="2822916" y="2199164"/>
                </a:cubicBezTo>
                <a:cubicBezTo>
                  <a:pt x="2697392" y="2118170"/>
                  <a:pt x="2633871" y="1997968"/>
                  <a:pt x="2625410" y="1844918"/>
                </a:cubicBezTo>
                <a:cubicBezTo>
                  <a:pt x="2578807" y="1839034"/>
                  <a:pt x="2532355" y="1832794"/>
                  <a:pt x="2486111" y="1827063"/>
                </a:cubicBezTo>
                <a:cubicBezTo>
                  <a:pt x="2215907" y="1794505"/>
                  <a:pt x="1945759" y="1762813"/>
                  <a:pt x="1675654" y="1729029"/>
                </a:cubicBezTo>
                <a:cubicBezTo>
                  <a:pt x="1644346" y="1725005"/>
                  <a:pt x="1630093" y="1731631"/>
                  <a:pt x="1616964" y="1762448"/>
                </a:cubicBezTo>
                <a:cubicBezTo>
                  <a:pt x="1552085" y="1914736"/>
                  <a:pt x="1373694" y="1982678"/>
                  <a:pt x="1217266" y="1918575"/>
                </a:cubicBezTo>
                <a:cubicBezTo>
                  <a:pt x="1067798" y="1857015"/>
                  <a:pt x="995979" y="1683747"/>
                  <a:pt x="1055072" y="1528146"/>
                </a:cubicBezTo>
                <a:cubicBezTo>
                  <a:pt x="1112539" y="1377358"/>
                  <a:pt x="1282005" y="1297570"/>
                  <a:pt x="1435547" y="1351553"/>
                </a:cubicBezTo>
                <a:cubicBezTo>
                  <a:pt x="1460883" y="1360652"/>
                  <a:pt x="1473862" y="1356022"/>
                  <a:pt x="1489365" y="1335533"/>
                </a:cubicBezTo>
                <a:cubicBezTo>
                  <a:pt x="1660000" y="1108912"/>
                  <a:pt x="1830992" y="882444"/>
                  <a:pt x="2002908" y="656792"/>
                </a:cubicBezTo>
                <a:cubicBezTo>
                  <a:pt x="2018563" y="635944"/>
                  <a:pt x="2015929" y="624239"/>
                  <a:pt x="1999931" y="605146"/>
                </a:cubicBezTo>
                <a:cubicBezTo>
                  <a:pt x="1885283" y="467819"/>
                  <a:pt x="1883235" y="276859"/>
                  <a:pt x="1993097" y="138233"/>
                </a:cubicBezTo>
                <a:cubicBezTo>
                  <a:pt x="2006568" y="121269"/>
                  <a:pt x="2021275" y="105784"/>
                  <a:pt x="2037009" y="91824"/>
                </a:cubicBezTo>
                <a:close/>
              </a:path>
            </a:pathLst>
          </a:custGeom>
          <a:solidFill>
            <a:srgbClr val="E6E3D7">
              <a:alpha val="4955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481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ne Skill">
  <a:themeElements>
    <a:clrScheme name="One Skil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90099"/>
      </a:accent1>
      <a:accent2>
        <a:srgbClr val="6C0079"/>
      </a:accent2>
      <a:accent3>
        <a:srgbClr val="9E0059"/>
      </a:accent3>
      <a:accent4>
        <a:srgbClr val="FF0054"/>
      </a:accent4>
      <a:accent5>
        <a:srgbClr val="FF5400"/>
      </a:accent5>
      <a:accent6>
        <a:srgbClr val="FFBD00"/>
      </a:accent6>
      <a:hlink>
        <a:srgbClr val="0563C1"/>
      </a:hlink>
      <a:folHlink>
        <a:srgbClr val="954F72"/>
      </a:folHlink>
    </a:clrScheme>
    <a:fontScheme name="One Skill">
      <a:majorFont>
        <a:latin typeface="Montserrat SemiBold"/>
        <a:ea typeface=""/>
        <a:cs typeface=""/>
      </a:majorFont>
      <a:minorFont>
        <a:latin typeface="Raleway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330</TotalTime>
  <Words>586</Words>
  <Application>Microsoft Office PowerPoint</Application>
  <PresentationFormat>Custom</PresentationFormat>
  <Paragraphs>169</Paragraphs>
  <Slides>22</Slides>
  <Notes>3</Notes>
  <HiddenSlides>0</HiddenSlides>
  <MMClips>2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Calibri</vt:lpstr>
      <vt:lpstr>Montserrat SemiBold</vt:lpstr>
      <vt:lpstr>Open Sans</vt:lpstr>
      <vt:lpstr>Open Sans SemiBold</vt:lpstr>
      <vt:lpstr>Raleway Light</vt:lpstr>
      <vt:lpstr>System Font Regular</vt:lpstr>
      <vt:lpstr>Ubuntu</vt:lpstr>
      <vt:lpstr>Ubuntu Light</vt:lpstr>
      <vt:lpstr>One Ski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One Skill</dc:creator>
  <cp:keywords/>
  <dc:description/>
  <cp:lastModifiedBy>Jonathan Yagoobian</cp:lastModifiedBy>
  <cp:revision>191</cp:revision>
  <dcterms:created xsi:type="dcterms:W3CDTF">2021-02-01T18:44:11Z</dcterms:created>
  <dcterms:modified xsi:type="dcterms:W3CDTF">2024-10-30T18:39:22Z</dcterms:modified>
  <cp:category/>
</cp:coreProperties>
</file>